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117.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4070" r:id="rId5"/>
    <p:sldMasterId id="2147485734" r:id="rId6"/>
    <p:sldMasterId id="2147485758" r:id="rId7"/>
    <p:sldMasterId id="2147485769" r:id="rId8"/>
    <p:sldMasterId id="2147485796" r:id="rId9"/>
    <p:sldMasterId id="2147485808" r:id="rId10"/>
  </p:sldMasterIdLst>
  <p:notesMasterIdLst>
    <p:notesMasterId r:id="rId31"/>
  </p:notesMasterIdLst>
  <p:handoutMasterIdLst>
    <p:handoutMasterId r:id="rId32"/>
  </p:handoutMasterIdLst>
  <p:sldIdLst>
    <p:sldId id="2147377333" r:id="rId11"/>
    <p:sldId id="2147481617" r:id="rId12"/>
    <p:sldId id="2147481688" r:id="rId13"/>
    <p:sldId id="2147481663" r:id="rId14"/>
    <p:sldId id="2147481665" r:id="rId15"/>
    <p:sldId id="2147481682" r:id="rId16"/>
    <p:sldId id="2147481680" r:id="rId17"/>
    <p:sldId id="2147481669" r:id="rId18"/>
    <p:sldId id="2147481684" r:id="rId19"/>
    <p:sldId id="2147481689" r:id="rId20"/>
    <p:sldId id="2147481620" r:id="rId21"/>
    <p:sldId id="2147481618" r:id="rId22"/>
    <p:sldId id="2147481621" r:id="rId23"/>
    <p:sldId id="2147481658" r:id="rId24"/>
    <p:sldId id="2147469157" r:id="rId25"/>
    <p:sldId id="2147481686" r:id="rId26"/>
    <p:sldId id="2147481687" r:id="rId27"/>
    <p:sldId id="282" r:id="rId28"/>
    <p:sldId id="2147481660" r:id="rId29"/>
    <p:sldId id="1448941905" r:id="rId3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52AD119-1634-A968-02AB-D0CF6E413342}" name="Elisabete Dias Ramos" initials="ER" userId="S::ediasramos@extern.gardp.org::13fd8993-4842-434e-a705-ea34b0de86df" providerId="AD"/>
  <p188:author id="{F7B90665-7844-21E9-763B-99FE1B8CB369}" name="Jeffrey Rowland" initials="JR" userId="S::jrowland@gardp.org::9dca46c5-94f7-4e80-9ebc-05b2867c89f0" providerId="AD"/>
  <p188:author id="{B4FDDD97-8B64-B372-6E76-3DD90AD21C31}" name="Duncan Graham-Rowe" initials="DG" userId="S::dgrahamrowe@gardp.org::36149306-9c06-45f6-a37e-de5552100752" providerId="AD"/>
  <p188:author id="{F63791B6-3D0A-B1DD-DAF8-8D642F5AA612}" name="Rahul Dwivedi" initials="RD" userId="S::rdwivedi@gardp.org::d63fa87e-850e-4144-9102-dac1fef5c099" providerId="AD"/>
  <p188:author id="{F462D6D2-CDA6-D69B-2B07-66CB73C3A683}" name="Jennifer Cohn" initials="JC" userId="S::jcohn@gardp.org::f6226e3a-e5a5-4b7a-b7d1-53c026d7ea5b" providerId="AD"/>
  <p188:author id="{9D04F2DD-0A0E-F251-8588-E3DDA730D284}" name="Elisabete Dias Ramos" initials="EDR" userId="Elisabete Dias Ramos"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6894"/>
    <a:srgbClr val="D65858"/>
    <a:srgbClr val="5585C0"/>
    <a:srgbClr val="FFCC00"/>
    <a:srgbClr val="EECF78"/>
    <a:srgbClr val="FFFF66"/>
    <a:srgbClr val="F8F8F8"/>
    <a:srgbClr val="E6E6E6"/>
    <a:srgbClr val="20588B"/>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99E99E-E9F1-48CD-971C-982267FC9FF8}" v="11" dt="2026-01-09T15:19:46.8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17" autoAdjust="0"/>
    <p:restoredTop sz="94161" autoAdjust="0"/>
  </p:normalViewPr>
  <p:slideViewPr>
    <p:cSldViewPr snapToGrid="0">
      <p:cViewPr varScale="1">
        <p:scale>
          <a:sx n="63" d="100"/>
          <a:sy n="63" d="100"/>
        </p:scale>
        <p:origin x="848" y="272"/>
      </p:cViewPr>
      <p:guideLst/>
    </p:cSldViewPr>
  </p:slideViewPr>
  <p:notesTextViewPr>
    <p:cViewPr>
      <p:scale>
        <a:sx n="3" d="2"/>
        <a:sy n="3" d="2"/>
      </p:scale>
      <p:origin x="0" y="0"/>
    </p:cViewPr>
  </p:notesTextViewPr>
  <p:notesViewPr>
    <p:cSldViewPr snapToGrid="0">
      <p:cViewPr>
        <p:scale>
          <a:sx n="1" d="2"/>
          <a:sy n="1" d="2"/>
        </p:scale>
        <p:origin x="2640" y="1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handoutMaster" Target="handoutMasters/handoutMaster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E8A0CC-7B1A-472D-854D-0AEB74A368BE}" type="doc">
      <dgm:prSet loTypeId="urn:microsoft.com/office/officeart/2005/8/layout/cycle8" loCatId="cycle" qsTypeId="urn:microsoft.com/office/officeart/2005/8/quickstyle/simple1" qsCatId="simple" csTypeId="urn:microsoft.com/office/officeart/2005/8/colors/accent3_3" csCatId="accent3" phldr="1"/>
      <dgm:spPr/>
      <dgm:t>
        <a:bodyPr/>
        <a:lstStyle/>
        <a:p>
          <a:endParaRPr lang="en-US"/>
        </a:p>
      </dgm:t>
    </dgm:pt>
    <dgm:pt modelId="{8BA3BFB4-F268-4A45-95DB-94ADDE23522E}">
      <dgm:prSet phldrT="[Text]" custT="1"/>
      <dgm:spPr/>
      <dgm:t>
        <a:bodyPr/>
        <a:lstStyle/>
        <a:p>
          <a:r>
            <a:rPr lang="en-CH" sz="2200" dirty="0"/>
            <a:t>Optimisation des antibiotiques et adoption </a:t>
          </a:r>
          <a:r>
            <a:rPr lang="es-ES" sz="2200" dirty="0"/>
            <a:t>solide</a:t>
          </a:r>
          <a:endParaRPr lang="en-US" sz="2200" dirty="0"/>
        </a:p>
      </dgm:t>
    </dgm:pt>
    <dgm:pt modelId="{C3DC2BC3-66DA-4ACA-B077-0043B7BEE5D7}" type="parTrans" cxnId="{11896810-30BA-4DFD-A369-4590327FB751}">
      <dgm:prSet/>
      <dgm:spPr/>
      <dgm:t>
        <a:bodyPr/>
        <a:lstStyle/>
        <a:p>
          <a:endParaRPr lang="en-US"/>
        </a:p>
      </dgm:t>
    </dgm:pt>
    <dgm:pt modelId="{D37C55AA-E1FA-4269-A324-5E6F6427541B}" type="sibTrans" cxnId="{11896810-30BA-4DFD-A369-4590327FB751}">
      <dgm:prSet/>
      <dgm:spPr/>
      <dgm:t>
        <a:bodyPr/>
        <a:lstStyle/>
        <a:p>
          <a:endParaRPr lang="en-US"/>
        </a:p>
      </dgm:t>
    </dgm:pt>
    <dgm:pt modelId="{430BCA2E-FE17-4CC6-B3E6-7F4D25738751}">
      <dgm:prSet phldrT="[Text]" custT="1"/>
      <dgm:spPr/>
      <dgm:t>
        <a:bodyPr/>
        <a:lstStyle/>
        <a:p>
          <a:r>
            <a:rPr lang="en-CH" sz="2200" dirty="0"/>
            <a:t>Licences pour la fabrication et l'accès</a:t>
          </a:r>
          <a:endParaRPr lang="en-US" sz="2200" dirty="0"/>
        </a:p>
      </dgm:t>
    </dgm:pt>
    <dgm:pt modelId="{A3453F60-3733-4320-A04B-77BDF9E75AFC}" type="parTrans" cxnId="{B2AFEC60-9445-4A03-85D3-19C286EE8D0C}">
      <dgm:prSet/>
      <dgm:spPr/>
      <dgm:t>
        <a:bodyPr/>
        <a:lstStyle/>
        <a:p>
          <a:endParaRPr lang="en-US"/>
        </a:p>
      </dgm:t>
    </dgm:pt>
    <dgm:pt modelId="{4E1FAC4A-B33F-48FA-9993-1A12A5769C10}" type="sibTrans" cxnId="{B2AFEC60-9445-4A03-85D3-19C286EE8D0C}">
      <dgm:prSet/>
      <dgm:spPr/>
      <dgm:t>
        <a:bodyPr/>
        <a:lstStyle/>
        <a:p>
          <a:endParaRPr lang="en-US"/>
        </a:p>
      </dgm:t>
    </dgm:pt>
    <dgm:pt modelId="{15848EBA-493F-4766-974B-676C27BFE3D9}">
      <dgm:prSet phldrT="[Text]" custT="1"/>
      <dgm:spPr/>
      <dgm:t>
        <a:bodyPr/>
        <a:lstStyle/>
        <a:p>
          <a:endParaRPr lang="en-US" sz="2100" dirty="0"/>
        </a:p>
      </dgm:t>
    </dgm:pt>
    <dgm:pt modelId="{6C39BAF2-94C8-4F7B-BA26-50F8AE89E2B0}" type="parTrans" cxnId="{17F2310C-FD0C-40AB-ADAE-AF30F38F0EB0}">
      <dgm:prSet/>
      <dgm:spPr/>
      <dgm:t>
        <a:bodyPr/>
        <a:lstStyle/>
        <a:p>
          <a:endParaRPr lang="en-US"/>
        </a:p>
      </dgm:t>
    </dgm:pt>
    <dgm:pt modelId="{F8DFC676-622F-4EEC-92F0-36435555F987}" type="sibTrans" cxnId="{17F2310C-FD0C-40AB-ADAE-AF30F38F0EB0}">
      <dgm:prSet/>
      <dgm:spPr/>
      <dgm:t>
        <a:bodyPr/>
        <a:lstStyle/>
        <a:p>
          <a:endParaRPr lang="en-US"/>
        </a:p>
      </dgm:t>
    </dgm:pt>
    <dgm:pt modelId="{0838BE74-E7FC-41AD-8E10-534F4627DDB5}">
      <dgm:prSet phldrT="[Text]" custT="1"/>
      <dgm:spPr/>
      <dgm:t>
        <a:bodyPr/>
        <a:lstStyle/>
        <a:p>
          <a:r>
            <a:rPr lang="en-CH" sz="2200" dirty="0"/>
            <a:t>Efficacité et transparence du marché</a:t>
          </a:r>
          <a:endParaRPr lang="en-US" sz="2200" dirty="0"/>
        </a:p>
      </dgm:t>
    </dgm:pt>
    <dgm:pt modelId="{218926F2-0455-4E0E-8D89-F403F6DF1C00}" type="parTrans" cxnId="{15B92693-6A83-47DC-B92D-506D75E8B2A5}">
      <dgm:prSet/>
      <dgm:spPr/>
      <dgm:t>
        <a:bodyPr/>
        <a:lstStyle/>
        <a:p>
          <a:endParaRPr lang="en-US"/>
        </a:p>
      </dgm:t>
    </dgm:pt>
    <dgm:pt modelId="{B83418C6-BE75-4A0C-9BBA-87CE796463B4}" type="sibTrans" cxnId="{15B92693-6A83-47DC-B92D-506D75E8B2A5}">
      <dgm:prSet/>
      <dgm:spPr/>
      <dgm:t>
        <a:bodyPr/>
        <a:lstStyle/>
        <a:p>
          <a:endParaRPr lang="en-US"/>
        </a:p>
      </dgm:t>
    </dgm:pt>
    <dgm:pt modelId="{FFC7A71B-697A-4492-94D6-1C0657D288E2}" type="pres">
      <dgm:prSet presAssocID="{62E8A0CC-7B1A-472D-854D-0AEB74A368BE}" presName="compositeShape" presStyleCnt="0">
        <dgm:presLayoutVars>
          <dgm:chMax val="7"/>
          <dgm:dir/>
          <dgm:resizeHandles val="exact"/>
        </dgm:presLayoutVars>
      </dgm:prSet>
      <dgm:spPr/>
    </dgm:pt>
    <dgm:pt modelId="{07B07E17-DE47-4829-911D-88AC6D949DFA}" type="pres">
      <dgm:prSet presAssocID="{62E8A0CC-7B1A-472D-854D-0AEB74A368BE}" presName="wedge1" presStyleLbl="node1" presStyleIdx="0" presStyleCnt="4"/>
      <dgm:spPr/>
    </dgm:pt>
    <dgm:pt modelId="{EC3C5697-F58E-4D34-A47B-44E8F44E3E0C}" type="pres">
      <dgm:prSet presAssocID="{62E8A0CC-7B1A-472D-854D-0AEB74A368BE}" presName="dummy1a" presStyleCnt="0"/>
      <dgm:spPr/>
    </dgm:pt>
    <dgm:pt modelId="{3A4E0685-99D7-40C1-811B-1DCEF2BA884D}" type="pres">
      <dgm:prSet presAssocID="{62E8A0CC-7B1A-472D-854D-0AEB74A368BE}" presName="dummy1b" presStyleCnt="0"/>
      <dgm:spPr/>
    </dgm:pt>
    <dgm:pt modelId="{D1824492-FF5D-4689-A3AE-A958E49DC1CF}" type="pres">
      <dgm:prSet presAssocID="{62E8A0CC-7B1A-472D-854D-0AEB74A368BE}" presName="wedge1Tx" presStyleLbl="node1" presStyleIdx="0" presStyleCnt="4">
        <dgm:presLayoutVars>
          <dgm:chMax val="0"/>
          <dgm:chPref val="0"/>
          <dgm:bulletEnabled val="1"/>
        </dgm:presLayoutVars>
      </dgm:prSet>
      <dgm:spPr/>
    </dgm:pt>
    <dgm:pt modelId="{FD7AC0E5-D6DE-4B7A-BB62-FAA01FFD0C54}" type="pres">
      <dgm:prSet presAssocID="{62E8A0CC-7B1A-472D-854D-0AEB74A368BE}" presName="wedge2" presStyleLbl="node1" presStyleIdx="1" presStyleCnt="4"/>
      <dgm:spPr/>
    </dgm:pt>
    <dgm:pt modelId="{B8BC85C6-9508-4C0B-94AD-695C2B9EC301}" type="pres">
      <dgm:prSet presAssocID="{62E8A0CC-7B1A-472D-854D-0AEB74A368BE}" presName="dummy2a" presStyleCnt="0"/>
      <dgm:spPr/>
    </dgm:pt>
    <dgm:pt modelId="{2DD99AA2-6F48-46D9-B122-1E329741FCEF}" type="pres">
      <dgm:prSet presAssocID="{62E8A0CC-7B1A-472D-854D-0AEB74A368BE}" presName="dummy2b" presStyleCnt="0"/>
      <dgm:spPr/>
    </dgm:pt>
    <dgm:pt modelId="{88DEA717-472C-4738-B8CB-8CE01740C3A2}" type="pres">
      <dgm:prSet presAssocID="{62E8A0CC-7B1A-472D-854D-0AEB74A368BE}" presName="wedge2Tx" presStyleLbl="node1" presStyleIdx="1" presStyleCnt="4">
        <dgm:presLayoutVars>
          <dgm:chMax val="0"/>
          <dgm:chPref val="0"/>
          <dgm:bulletEnabled val="1"/>
        </dgm:presLayoutVars>
      </dgm:prSet>
      <dgm:spPr/>
    </dgm:pt>
    <dgm:pt modelId="{BA96C5E3-1886-4E34-A514-69BA765CFFD8}" type="pres">
      <dgm:prSet presAssocID="{62E8A0CC-7B1A-472D-854D-0AEB74A368BE}" presName="wedge3" presStyleLbl="node1" presStyleIdx="2" presStyleCnt="4"/>
      <dgm:spPr/>
    </dgm:pt>
    <dgm:pt modelId="{8D9530A0-CFE9-494B-8A6F-A30A32B2A90E}" type="pres">
      <dgm:prSet presAssocID="{62E8A0CC-7B1A-472D-854D-0AEB74A368BE}" presName="dummy3a" presStyleCnt="0"/>
      <dgm:spPr/>
    </dgm:pt>
    <dgm:pt modelId="{38C7D9BD-EDA7-4C19-9014-10517F2D444D}" type="pres">
      <dgm:prSet presAssocID="{62E8A0CC-7B1A-472D-854D-0AEB74A368BE}" presName="dummy3b" presStyleCnt="0"/>
      <dgm:spPr/>
    </dgm:pt>
    <dgm:pt modelId="{22436A4C-B7C9-4B50-AA70-FAA768A67624}" type="pres">
      <dgm:prSet presAssocID="{62E8A0CC-7B1A-472D-854D-0AEB74A368BE}" presName="wedge3Tx" presStyleLbl="node1" presStyleIdx="2" presStyleCnt="4">
        <dgm:presLayoutVars>
          <dgm:chMax val="0"/>
          <dgm:chPref val="0"/>
          <dgm:bulletEnabled val="1"/>
        </dgm:presLayoutVars>
      </dgm:prSet>
      <dgm:spPr/>
    </dgm:pt>
    <dgm:pt modelId="{89A4B5C7-CBFD-4DCB-8093-541A2C7FB3AD}" type="pres">
      <dgm:prSet presAssocID="{62E8A0CC-7B1A-472D-854D-0AEB74A368BE}" presName="wedge4" presStyleLbl="node1" presStyleIdx="3" presStyleCnt="4"/>
      <dgm:spPr/>
    </dgm:pt>
    <dgm:pt modelId="{E5153C49-CC49-4A17-8DBA-3D5A1C4E82AD}" type="pres">
      <dgm:prSet presAssocID="{62E8A0CC-7B1A-472D-854D-0AEB74A368BE}" presName="dummy4a" presStyleCnt="0"/>
      <dgm:spPr/>
    </dgm:pt>
    <dgm:pt modelId="{79D861D1-C2C4-45C2-AE51-A216A4749A99}" type="pres">
      <dgm:prSet presAssocID="{62E8A0CC-7B1A-472D-854D-0AEB74A368BE}" presName="dummy4b" presStyleCnt="0"/>
      <dgm:spPr/>
    </dgm:pt>
    <dgm:pt modelId="{66CBC6BE-F40C-4613-B83C-ED250A9F25CB}" type="pres">
      <dgm:prSet presAssocID="{62E8A0CC-7B1A-472D-854D-0AEB74A368BE}" presName="wedge4Tx" presStyleLbl="node1" presStyleIdx="3" presStyleCnt="4">
        <dgm:presLayoutVars>
          <dgm:chMax val="0"/>
          <dgm:chPref val="0"/>
          <dgm:bulletEnabled val="1"/>
        </dgm:presLayoutVars>
      </dgm:prSet>
      <dgm:spPr/>
    </dgm:pt>
    <dgm:pt modelId="{7FB20AC5-19F6-4C40-B06E-B91AADD343EB}" type="pres">
      <dgm:prSet presAssocID="{D37C55AA-E1FA-4269-A324-5E6F6427541B}" presName="arrowWedge1" presStyleLbl="fgSibTrans2D1" presStyleIdx="0" presStyleCnt="4"/>
      <dgm:spPr/>
    </dgm:pt>
    <dgm:pt modelId="{F27FA0E3-C2F7-44C4-8638-14D8DA938170}" type="pres">
      <dgm:prSet presAssocID="{B83418C6-BE75-4A0C-9BBA-87CE796463B4}" presName="arrowWedge2" presStyleLbl="fgSibTrans2D1" presStyleIdx="1" presStyleCnt="4"/>
      <dgm:spPr/>
    </dgm:pt>
    <dgm:pt modelId="{42381FB1-FC83-4305-B481-7D2A47FA5F8A}" type="pres">
      <dgm:prSet presAssocID="{4E1FAC4A-B33F-48FA-9993-1A12A5769C10}" presName="arrowWedge3" presStyleLbl="fgSibTrans2D1" presStyleIdx="2" presStyleCnt="4"/>
      <dgm:spPr/>
    </dgm:pt>
    <dgm:pt modelId="{2B9CB229-072F-4692-82DD-680D0660D823}" type="pres">
      <dgm:prSet presAssocID="{F8DFC676-622F-4EEC-92F0-36435555F987}" presName="arrowWedge4" presStyleLbl="fgSibTrans2D1" presStyleIdx="3" presStyleCnt="4" custScaleX="99841"/>
      <dgm:spPr/>
    </dgm:pt>
  </dgm:ptLst>
  <dgm:cxnLst>
    <dgm:cxn modelId="{BDBEAA00-D20C-482A-80DD-A7E3E5F6BF19}" type="presOf" srcId="{15848EBA-493F-4766-974B-676C27BFE3D9}" destId="{66CBC6BE-F40C-4613-B83C-ED250A9F25CB}" srcOrd="1" destOrd="0" presId="urn:microsoft.com/office/officeart/2005/8/layout/cycle8"/>
    <dgm:cxn modelId="{3D970202-D8BA-4EA5-94B7-12A19B3D14CA}" type="presOf" srcId="{8BA3BFB4-F268-4A45-95DB-94ADDE23522E}" destId="{D1824492-FF5D-4689-A3AE-A958E49DC1CF}" srcOrd="1" destOrd="0" presId="urn:microsoft.com/office/officeart/2005/8/layout/cycle8"/>
    <dgm:cxn modelId="{17F2310C-FD0C-40AB-ADAE-AF30F38F0EB0}" srcId="{62E8A0CC-7B1A-472D-854D-0AEB74A368BE}" destId="{15848EBA-493F-4766-974B-676C27BFE3D9}" srcOrd="3" destOrd="0" parTransId="{6C39BAF2-94C8-4F7B-BA26-50F8AE89E2B0}" sibTransId="{F8DFC676-622F-4EEC-92F0-36435555F987}"/>
    <dgm:cxn modelId="{11896810-30BA-4DFD-A369-4590327FB751}" srcId="{62E8A0CC-7B1A-472D-854D-0AEB74A368BE}" destId="{8BA3BFB4-F268-4A45-95DB-94ADDE23522E}" srcOrd="0" destOrd="0" parTransId="{C3DC2BC3-66DA-4ACA-B077-0043B7BEE5D7}" sibTransId="{D37C55AA-E1FA-4269-A324-5E6F6427541B}"/>
    <dgm:cxn modelId="{B2AFEC60-9445-4A03-85D3-19C286EE8D0C}" srcId="{62E8A0CC-7B1A-472D-854D-0AEB74A368BE}" destId="{430BCA2E-FE17-4CC6-B3E6-7F4D25738751}" srcOrd="2" destOrd="0" parTransId="{A3453F60-3733-4320-A04B-77BDF9E75AFC}" sibTransId="{4E1FAC4A-B33F-48FA-9993-1A12A5769C10}"/>
    <dgm:cxn modelId="{8EBBBA47-0EB4-4DE2-A5D2-9E6A4246DEC9}" type="presOf" srcId="{430BCA2E-FE17-4CC6-B3E6-7F4D25738751}" destId="{22436A4C-B7C9-4B50-AA70-FAA768A67624}" srcOrd="1" destOrd="0" presId="urn:microsoft.com/office/officeart/2005/8/layout/cycle8"/>
    <dgm:cxn modelId="{8C8BAB71-27A1-4F6E-A504-D250AF1DCA08}" type="presOf" srcId="{0838BE74-E7FC-41AD-8E10-534F4627DDB5}" destId="{88DEA717-472C-4738-B8CB-8CE01740C3A2}" srcOrd="1" destOrd="0" presId="urn:microsoft.com/office/officeart/2005/8/layout/cycle8"/>
    <dgm:cxn modelId="{15B92693-6A83-47DC-B92D-506D75E8B2A5}" srcId="{62E8A0CC-7B1A-472D-854D-0AEB74A368BE}" destId="{0838BE74-E7FC-41AD-8E10-534F4627DDB5}" srcOrd="1" destOrd="0" parTransId="{218926F2-0455-4E0E-8D89-F403F6DF1C00}" sibTransId="{B83418C6-BE75-4A0C-9BBA-87CE796463B4}"/>
    <dgm:cxn modelId="{52990594-70ED-4C3D-B6ED-E9E2AE50F580}" type="presOf" srcId="{62E8A0CC-7B1A-472D-854D-0AEB74A368BE}" destId="{FFC7A71B-697A-4492-94D6-1C0657D288E2}" srcOrd="0" destOrd="0" presId="urn:microsoft.com/office/officeart/2005/8/layout/cycle8"/>
    <dgm:cxn modelId="{7B13D495-8C0C-4053-9C0E-57FB07BF5EF3}" type="presOf" srcId="{430BCA2E-FE17-4CC6-B3E6-7F4D25738751}" destId="{BA96C5E3-1886-4E34-A514-69BA765CFFD8}" srcOrd="0" destOrd="0" presId="urn:microsoft.com/office/officeart/2005/8/layout/cycle8"/>
    <dgm:cxn modelId="{E0AC09CE-0AC0-43C6-93B2-B0F4FC573054}" type="presOf" srcId="{8BA3BFB4-F268-4A45-95DB-94ADDE23522E}" destId="{07B07E17-DE47-4829-911D-88AC6D949DFA}" srcOrd="0" destOrd="0" presId="urn:microsoft.com/office/officeart/2005/8/layout/cycle8"/>
    <dgm:cxn modelId="{31551AEA-2976-4BD1-932C-DEE5C6861C24}" type="presOf" srcId="{15848EBA-493F-4766-974B-676C27BFE3D9}" destId="{89A4B5C7-CBFD-4DCB-8093-541A2C7FB3AD}" srcOrd="0" destOrd="0" presId="urn:microsoft.com/office/officeart/2005/8/layout/cycle8"/>
    <dgm:cxn modelId="{E7A9A6FF-0F18-4CCB-81EB-3EC04A7E05CF}" type="presOf" srcId="{0838BE74-E7FC-41AD-8E10-534F4627DDB5}" destId="{FD7AC0E5-D6DE-4B7A-BB62-FAA01FFD0C54}" srcOrd="0" destOrd="0" presId="urn:microsoft.com/office/officeart/2005/8/layout/cycle8"/>
    <dgm:cxn modelId="{38C51A05-A22D-403A-AC7B-B4D3EF243576}" type="presParOf" srcId="{FFC7A71B-697A-4492-94D6-1C0657D288E2}" destId="{07B07E17-DE47-4829-911D-88AC6D949DFA}" srcOrd="0" destOrd="0" presId="urn:microsoft.com/office/officeart/2005/8/layout/cycle8"/>
    <dgm:cxn modelId="{85E3C8FF-B266-482D-B5D7-E84C2A27C1C2}" type="presParOf" srcId="{FFC7A71B-697A-4492-94D6-1C0657D288E2}" destId="{EC3C5697-F58E-4D34-A47B-44E8F44E3E0C}" srcOrd="1" destOrd="0" presId="urn:microsoft.com/office/officeart/2005/8/layout/cycle8"/>
    <dgm:cxn modelId="{40D02756-BE8B-472B-ACE9-C9F927356B4B}" type="presParOf" srcId="{FFC7A71B-697A-4492-94D6-1C0657D288E2}" destId="{3A4E0685-99D7-40C1-811B-1DCEF2BA884D}" srcOrd="2" destOrd="0" presId="urn:microsoft.com/office/officeart/2005/8/layout/cycle8"/>
    <dgm:cxn modelId="{0D0DD023-9EBA-4F9B-97C7-CE0C74519EB1}" type="presParOf" srcId="{FFC7A71B-697A-4492-94D6-1C0657D288E2}" destId="{D1824492-FF5D-4689-A3AE-A958E49DC1CF}" srcOrd="3" destOrd="0" presId="urn:microsoft.com/office/officeart/2005/8/layout/cycle8"/>
    <dgm:cxn modelId="{73C82753-464A-4959-BC42-05225150A5F9}" type="presParOf" srcId="{FFC7A71B-697A-4492-94D6-1C0657D288E2}" destId="{FD7AC0E5-D6DE-4B7A-BB62-FAA01FFD0C54}" srcOrd="4" destOrd="0" presId="urn:microsoft.com/office/officeart/2005/8/layout/cycle8"/>
    <dgm:cxn modelId="{17DB2C95-6B89-419C-AA98-DB0118EAEF63}" type="presParOf" srcId="{FFC7A71B-697A-4492-94D6-1C0657D288E2}" destId="{B8BC85C6-9508-4C0B-94AD-695C2B9EC301}" srcOrd="5" destOrd="0" presId="urn:microsoft.com/office/officeart/2005/8/layout/cycle8"/>
    <dgm:cxn modelId="{95F0C3EE-A21D-466A-A3BB-54765853A7BA}" type="presParOf" srcId="{FFC7A71B-697A-4492-94D6-1C0657D288E2}" destId="{2DD99AA2-6F48-46D9-B122-1E329741FCEF}" srcOrd="6" destOrd="0" presId="urn:microsoft.com/office/officeart/2005/8/layout/cycle8"/>
    <dgm:cxn modelId="{B674141B-41E2-412C-92B2-11BF34F8479C}" type="presParOf" srcId="{FFC7A71B-697A-4492-94D6-1C0657D288E2}" destId="{88DEA717-472C-4738-B8CB-8CE01740C3A2}" srcOrd="7" destOrd="0" presId="urn:microsoft.com/office/officeart/2005/8/layout/cycle8"/>
    <dgm:cxn modelId="{530B1AE6-A7FA-47D7-87B4-06EE95663D80}" type="presParOf" srcId="{FFC7A71B-697A-4492-94D6-1C0657D288E2}" destId="{BA96C5E3-1886-4E34-A514-69BA765CFFD8}" srcOrd="8" destOrd="0" presId="urn:microsoft.com/office/officeart/2005/8/layout/cycle8"/>
    <dgm:cxn modelId="{90360636-5341-4353-9A65-40A07FCC97B1}" type="presParOf" srcId="{FFC7A71B-697A-4492-94D6-1C0657D288E2}" destId="{8D9530A0-CFE9-494B-8A6F-A30A32B2A90E}" srcOrd="9" destOrd="0" presId="urn:microsoft.com/office/officeart/2005/8/layout/cycle8"/>
    <dgm:cxn modelId="{2EE735BB-580C-49A4-AA65-1FD7036D1058}" type="presParOf" srcId="{FFC7A71B-697A-4492-94D6-1C0657D288E2}" destId="{38C7D9BD-EDA7-4C19-9014-10517F2D444D}" srcOrd="10" destOrd="0" presId="urn:microsoft.com/office/officeart/2005/8/layout/cycle8"/>
    <dgm:cxn modelId="{D8DB6044-FD10-46B3-B89F-933BE7CDDD86}" type="presParOf" srcId="{FFC7A71B-697A-4492-94D6-1C0657D288E2}" destId="{22436A4C-B7C9-4B50-AA70-FAA768A67624}" srcOrd="11" destOrd="0" presId="urn:microsoft.com/office/officeart/2005/8/layout/cycle8"/>
    <dgm:cxn modelId="{9F56C84D-4DAC-400C-A036-8498A86FE24D}" type="presParOf" srcId="{FFC7A71B-697A-4492-94D6-1C0657D288E2}" destId="{89A4B5C7-CBFD-4DCB-8093-541A2C7FB3AD}" srcOrd="12" destOrd="0" presId="urn:microsoft.com/office/officeart/2005/8/layout/cycle8"/>
    <dgm:cxn modelId="{131226BD-3D71-413A-9ECE-DE4C3787F8DE}" type="presParOf" srcId="{FFC7A71B-697A-4492-94D6-1C0657D288E2}" destId="{E5153C49-CC49-4A17-8DBA-3D5A1C4E82AD}" srcOrd="13" destOrd="0" presId="urn:microsoft.com/office/officeart/2005/8/layout/cycle8"/>
    <dgm:cxn modelId="{1FADD572-3827-4AD7-964D-BF7342C29870}" type="presParOf" srcId="{FFC7A71B-697A-4492-94D6-1C0657D288E2}" destId="{79D861D1-C2C4-45C2-AE51-A216A4749A99}" srcOrd="14" destOrd="0" presId="urn:microsoft.com/office/officeart/2005/8/layout/cycle8"/>
    <dgm:cxn modelId="{721C5DA0-7DD2-4453-BBC2-48570966A896}" type="presParOf" srcId="{FFC7A71B-697A-4492-94D6-1C0657D288E2}" destId="{66CBC6BE-F40C-4613-B83C-ED250A9F25CB}" srcOrd="15" destOrd="0" presId="urn:microsoft.com/office/officeart/2005/8/layout/cycle8"/>
    <dgm:cxn modelId="{59C49D42-470D-4D76-97EA-0FC4031E4214}" type="presParOf" srcId="{FFC7A71B-697A-4492-94D6-1C0657D288E2}" destId="{7FB20AC5-19F6-4C40-B06E-B91AADD343EB}" srcOrd="16" destOrd="0" presId="urn:microsoft.com/office/officeart/2005/8/layout/cycle8"/>
    <dgm:cxn modelId="{67B925F2-F511-481D-A306-DEC426B15279}" type="presParOf" srcId="{FFC7A71B-697A-4492-94D6-1C0657D288E2}" destId="{F27FA0E3-C2F7-44C4-8638-14D8DA938170}" srcOrd="17" destOrd="0" presId="urn:microsoft.com/office/officeart/2005/8/layout/cycle8"/>
    <dgm:cxn modelId="{6A37D59F-95AC-4BD5-A379-CAD28050B2AF}" type="presParOf" srcId="{FFC7A71B-697A-4492-94D6-1C0657D288E2}" destId="{42381FB1-FC83-4305-B481-7D2A47FA5F8A}" srcOrd="18" destOrd="0" presId="urn:microsoft.com/office/officeart/2005/8/layout/cycle8"/>
    <dgm:cxn modelId="{C2917D63-110B-48F0-A092-7E1CF38FFC87}" type="presParOf" srcId="{FFC7A71B-697A-4492-94D6-1C0657D288E2}" destId="{2B9CB229-072F-4692-82DD-680D0660D823}"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2E8A0CC-7B1A-472D-854D-0AEB74A368BE}" type="doc">
      <dgm:prSet loTypeId="urn:microsoft.com/office/officeart/2005/8/layout/cycle8" loCatId="cycle" qsTypeId="urn:microsoft.com/office/officeart/2005/8/quickstyle/simple1" qsCatId="simple" csTypeId="urn:microsoft.com/office/officeart/2005/8/colors/accent3_3" csCatId="accent3" phldr="1"/>
      <dgm:spPr/>
    </dgm:pt>
    <dgm:pt modelId="{8BA3BFB4-F268-4A45-95DB-94ADDE23522E}">
      <dgm:prSet phldrT="[Text]" custT="1"/>
      <dgm:spPr/>
      <dgm:t>
        <a:bodyPr/>
        <a:lstStyle/>
        <a:p>
          <a:r>
            <a:rPr lang="en-CH" sz="400" dirty="0"/>
            <a:t>Optimisation des antibiotiques et adoption massive</a:t>
          </a:r>
          <a:endParaRPr lang="en-US" sz="400" dirty="0"/>
        </a:p>
      </dgm:t>
    </dgm:pt>
    <dgm:pt modelId="{C3DC2BC3-66DA-4ACA-B077-0043B7BEE5D7}" type="parTrans" cxnId="{11896810-30BA-4DFD-A369-4590327FB751}">
      <dgm:prSet/>
      <dgm:spPr/>
      <dgm:t>
        <a:bodyPr/>
        <a:lstStyle/>
        <a:p>
          <a:endParaRPr lang="en-US" sz="400"/>
        </a:p>
      </dgm:t>
    </dgm:pt>
    <dgm:pt modelId="{D37C55AA-E1FA-4269-A324-5E6F6427541B}" type="sibTrans" cxnId="{11896810-30BA-4DFD-A369-4590327FB751}">
      <dgm:prSet/>
      <dgm:spPr/>
      <dgm:t>
        <a:bodyPr/>
        <a:lstStyle/>
        <a:p>
          <a:endParaRPr lang="en-US" sz="400"/>
        </a:p>
      </dgm:t>
    </dgm:pt>
    <dgm:pt modelId="{430BCA2E-FE17-4CC6-B3E6-7F4D25738751}">
      <dgm:prSet phldrT="[Text]" custT="1"/>
      <dgm:spPr/>
      <dgm:t>
        <a:bodyPr/>
        <a:lstStyle/>
        <a:p>
          <a:r>
            <a:rPr lang="en-CH" sz="400" dirty="0"/>
            <a:t>Licences pour la fabrication et l'accès</a:t>
          </a:r>
          <a:endParaRPr lang="en-US" sz="400" dirty="0"/>
        </a:p>
      </dgm:t>
    </dgm:pt>
    <dgm:pt modelId="{A3453F60-3733-4320-A04B-77BDF9E75AFC}" type="parTrans" cxnId="{B2AFEC60-9445-4A03-85D3-19C286EE8D0C}">
      <dgm:prSet/>
      <dgm:spPr/>
      <dgm:t>
        <a:bodyPr/>
        <a:lstStyle/>
        <a:p>
          <a:endParaRPr lang="en-US" sz="400"/>
        </a:p>
      </dgm:t>
    </dgm:pt>
    <dgm:pt modelId="{4E1FAC4A-B33F-48FA-9993-1A12A5769C10}" type="sibTrans" cxnId="{B2AFEC60-9445-4A03-85D3-19C286EE8D0C}">
      <dgm:prSet/>
      <dgm:spPr/>
      <dgm:t>
        <a:bodyPr/>
        <a:lstStyle/>
        <a:p>
          <a:endParaRPr lang="en-US" sz="400"/>
        </a:p>
      </dgm:t>
    </dgm:pt>
    <dgm:pt modelId="{15848EBA-493F-4766-974B-676C27BFE3D9}">
      <dgm:prSet phldrT="[Text]" custT="1"/>
      <dgm:spPr/>
      <dgm:t>
        <a:bodyPr/>
        <a:lstStyle/>
        <a:p>
          <a:r>
            <a:rPr lang="en-CH" sz="400" dirty="0">
              <a:solidFill>
                <a:srgbClr val="FF0000"/>
              </a:solidFill>
            </a:rPr>
            <a:t>Développement de médicaments à but non lucratif </a:t>
          </a:r>
          <a:endParaRPr lang="en-US" sz="400" dirty="0">
            <a:solidFill>
              <a:srgbClr val="FF0000"/>
            </a:solidFill>
          </a:endParaRPr>
        </a:p>
      </dgm:t>
    </dgm:pt>
    <dgm:pt modelId="{6C39BAF2-94C8-4F7B-BA26-50F8AE89E2B0}" type="parTrans" cxnId="{17F2310C-FD0C-40AB-ADAE-AF30F38F0EB0}">
      <dgm:prSet/>
      <dgm:spPr/>
      <dgm:t>
        <a:bodyPr/>
        <a:lstStyle/>
        <a:p>
          <a:endParaRPr lang="en-US" sz="400"/>
        </a:p>
      </dgm:t>
    </dgm:pt>
    <dgm:pt modelId="{F8DFC676-622F-4EEC-92F0-36435555F987}" type="sibTrans" cxnId="{17F2310C-FD0C-40AB-ADAE-AF30F38F0EB0}">
      <dgm:prSet/>
      <dgm:spPr/>
      <dgm:t>
        <a:bodyPr/>
        <a:lstStyle/>
        <a:p>
          <a:endParaRPr lang="en-US" sz="400"/>
        </a:p>
      </dgm:t>
    </dgm:pt>
    <dgm:pt modelId="{0838BE74-E7FC-41AD-8E10-534F4627DDB5}">
      <dgm:prSet phldrT="[Text]" custT="1"/>
      <dgm:spPr/>
      <dgm:t>
        <a:bodyPr/>
        <a:lstStyle/>
        <a:p>
          <a:r>
            <a:rPr lang="en-CH" sz="400" dirty="0"/>
            <a:t>Efficacité et transparence du marché</a:t>
          </a:r>
          <a:endParaRPr lang="en-US" sz="400" dirty="0"/>
        </a:p>
      </dgm:t>
    </dgm:pt>
    <dgm:pt modelId="{218926F2-0455-4E0E-8D89-F403F6DF1C00}" type="parTrans" cxnId="{15B92693-6A83-47DC-B92D-506D75E8B2A5}">
      <dgm:prSet/>
      <dgm:spPr/>
      <dgm:t>
        <a:bodyPr/>
        <a:lstStyle/>
        <a:p>
          <a:endParaRPr lang="en-US" sz="400"/>
        </a:p>
      </dgm:t>
    </dgm:pt>
    <dgm:pt modelId="{B83418C6-BE75-4A0C-9BBA-87CE796463B4}" type="sibTrans" cxnId="{15B92693-6A83-47DC-B92D-506D75E8B2A5}">
      <dgm:prSet/>
      <dgm:spPr/>
      <dgm:t>
        <a:bodyPr/>
        <a:lstStyle/>
        <a:p>
          <a:endParaRPr lang="en-US" sz="400"/>
        </a:p>
      </dgm:t>
    </dgm:pt>
    <dgm:pt modelId="{FFC7A71B-697A-4492-94D6-1C0657D288E2}" type="pres">
      <dgm:prSet presAssocID="{62E8A0CC-7B1A-472D-854D-0AEB74A368BE}" presName="compositeShape" presStyleCnt="0">
        <dgm:presLayoutVars>
          <dgm:chMax val="7"/>
          <dgm:dir/>
          <dgm:resizeHandles val="exact"/>
        </dgm:presLayoutVars>
      </dgm:prSet>
      <dgm:spPr/>
    </dgm:pt>
    <dgm:pt modelId="{07B07E17-DE47-4829-911D-88AC6D949DFA}" type="pres">
      <dgm:prSet presAssocID="{62E8A0CC-7B1A-472D-854D-0AEB74A368BE}" presName="wedge1" presStyleLbl="node1" presStyleIdx="0" presStyleCnt="4"/>
      <dgm:spPr/>
    </dgm:pt>
    <dgm:pt modelId="{EC3C5697-F58E-4D34-A47B-44E8F44E3E0C}" type="pres">
      <dgm:prSet presAssocID="{62E8A0CC-7B1A-472D-854D-0AEB74A368BE}" presName="dummy1a" presStyleCnt="0"/>
      <dgm:spPr/>
    </dgm:pt>
    <dgm:pt modelId="{3A4E0685-99D7-40C1-811B-1DCEF2BA884D}" type="pres">
      <dgm:prSet presAssocID="{62E8A0CC-7B1A-472D-854D-0AEB74A368BE}" presName="dummy1b" presStyleCnt="0"/>
      <dgm:spPr/>
    </dgm:pt>
    <dgm:pt modelId="{D1824492-FF5D-4689-A3AE-A958E49DC1CF}" type="pres">
      <dgm:prSet presAssocID="{62E8A0CC-7B1A-472D-854D-0AEB74A368BE}" presName="wedge1Tx" presStyleLbl="node1" presStyleIdx="0" presStyleCnt="4">
        <dgm:presLayoutVars>
          <dgm:chMax val="0"/>
          <dgm:chPref val="0"/>
          <dgm:bulletEnabled val="1"/>
        </dgm:presLayoutVars>
      </dgm:prSet>
      <dgm:spPr/>
    </dgm:pt>
    <dgm:pt modelId="{FD7AC0E5-D6DE-4B7A-BB62-FAA01FFD0C54}" type="pres">
      <dgm:prSet presAssocID="{62E8A0CC-7B1A-472D-854D-0AEB74A368BE}" presName="wedge2" presStyleLbl="node1" presStyleIdx="1" presStyleCnt="4"/>
      <dgm:spPr/>
    </dgm:pt>
    <dgm:pt modelId="{B8BC85C6-9508-4C0B-94AD-695C2B9EC301}" type="pres">
      <dgm:prSet presAssocID="{62E8A0CC-7B1A-472D-854D-0AEB74A368BE}" presName="dummy2a" presStyleCnt="0"/>
      <dgm:spPr/>
    </dgm:pt>
    <dgm:pt modelId="{2DD99AA2-6F48-46D9-B122-1E329741FCEF}" type="pres">
      <dgm:prSet presAssocID="{62E8A0CC-7B1A-472D-854D-0AEB74A368BE}" presName="dummy2b" presStyleCnt="0"/>
      <dgm:spPr/>
    </dgm:pt>
    <dgm:pt modelId="{88DEA717-472C-4738-B8CB-8CE01740C3A2}" type="pres">
      <dgm:prSet presAssocID="{62E8A0CC-7B1A-472D-854D-0AEB74A368BE}" presName="wedge2Tx" presStyleLbl="node1" presStyleIdx="1" presStyleCnt="4">
        <dgm:presLayoutVars>
          <dgm:chMax val="0"/>
          <dgm:chPref val="0"/>
          <dgm:bulletEnabled val="1"/>
        </dgm:presLayoutVars>
      </dgm:prSet>
      <dgm:spPr/>
    </dgm:pt>
    <dgm:pt modelId="{BA96C5E3-1886-4E34-A514-69BA765CFFD8}" type="pres">
      <dgm:prSet presAssocID="{62E8A0CC-7B1A-472D-854D-0AEB74A368BE}" presName="wedge3" presStyleLbl="node1" presStyleIdx="2" presStyleCnt="4"/>
      <dgm:spPr/>
    </dgm:pt>
    <dgm:pt modelId="{8D9530A0-CFE9-494B-8A6F-A30A32B2A90E}" type="pres">
      <dgm:prSet presAssocID="{62E8A0CC-7B1A-472D-854D-0AEB74A368BE}" presName="dummy3a" presStyleCnt="0"/>
      <dgm:spPr/>
    </dgm:pt>
    <dgm:pt modelId="{38C7D9BD-EDA7-4C19-9014-10517F2D444D}" type="pres">
      <dgm:prSet presAssocID="{62E8A0CC-7B1A-472D-854D-0AEB74A368BE}" presName="dummy3b" presStyleCnt="0"/>
      <dgm:spPr/>
    </dgm:pt>
    <dgm:pt modelId="{22436A4C-B7C9-4B50-AA70-FAA768A67624}" type="pres">
      <dgm:prSet presAssocID="{62E8A0CC-7B1A-472D-854D-0AEB74A368BE}" presName="wedge3Tx" presStyleLbl="node1" presStyleIdx="2" presStyleCnt="4">
        <dgm:presLayoutVars>
          <dgm:chMax val="0"/>
          <dgm:chPref val="0"/>
          <dgm:bulletEnabled val="1"/>
        </dgm:presLayoutVars>
      </dgm:prSet>
      <dgm:spPr/>
    </dgm:pt>
    <dgm:pt modelId="{89A4B5C7-CBFD-4DCB-8093-541A2C7FB3AD}" type="pres">
      <dgm:prSet presAssocID="{62E8A0CC-7B1A-472D-854D-0AEB74A368BE}" presName="wedge4" presStyleLbl="node1" presStyleIdx="3" presStyleCnt="4"/>
      <dgm:spPr/>
    </dgm:pt>
    <dgm:pt modelId="{E5153C49-CC49-4A17-8DBA-3D5A1C4E82AD}" type="pres">
      <dgm:prSet presAssocID="{62E8A0CC-7B1A-472D-854D-0AEB74A368BE}" presName="dummy4a" presStyleCnt="0"/>
      <dgm:spPr/>
    </dgm:pt>
    <dgm:pt modelId="{79D861D1-C2C4-45C2-AE51-A216A4749A99}" type="pres">
      <dgm:prSet presAssocID="{62E8A0CC-7B1A-472D-854D-0AEB74A368BE}" presName="dummy4b" presStyleCnt="0"/>
      <dgm:spPr/>
    </dgm:pt>
    <dgm:pt modelId="{66CBC6BE-F40C-4613-B83C-ED250A9F25CB}" type="pres">
      <dgm:prSet presAssocID="{62E8A0CC-7B1A-472D-854D-0AEB74A368BE}" presName="wedge4Tx" presStyleLbl="node1" presStyleIdx="3" presStyleCnt="4">
        <dgm:presLayoutVars>
          <dgm:chMax val="0"/>
          <dgm:chPref val="0"/>
          <dgm:bulletEnabled val="1"/>
        </dgm:presLayoutVars>
      </dgm:prSet>
      <dgm:spPr/>
    </dgm:pt>
    <dgm:pt modelId="{7FB20AC5-19F6-4C40-B06E-B91AADD343EB}" type="pres">
      <dgm:prSet presAssocID="{D37C55AA-E1FA-4269-A324-5E6F6427541B}" presName="arrowWedge1" presStyleLbl="fgSibTrans2D1" presStyleIdx="0" presStyleCnt="4"/>
      <dgm:spPr/>
    </dgm:pt>
    <dgm:pt modelId="{F27FA0E3-C2F7-44C4-8638-14D8DA938170}" type="pres">
      <dgm:prSet presAssocID="{B83418C6-BE75-4A0C-9BBA-87CE796463B4}" presName="arrowWedge2" presStyleLbl="fgSibTrans2D1" presStyleIdx="1" presStyleCnt="4"/>
      <dgm:spPr/>
    </dgm:pt>
    <dgm:pt modelId="{42381FB1-FC83-4305-B481-7D2A47FA5F8A}" type="pres">
      <dgm:prSet presAssocID="{4E1FAC4A-B33F-48FA-9993-1A12A5769C10}" presName="arrowWedge3" presStyleLbl="fgSibTrans2D1" presStyleIdx="2" presStyleCnt="4"/>
      <dgm:spPr/>
    </dgm:pt>
    <dgm:pt modelId="{2B9CB229-072F-4692-82DD-680D0660D823}" type="pres">
      <dgm:prSet presAssocID="{F8DFC676-622F-4EEC-92F0-36435555F987}" presName="arrowWedge4" presStyleLbl="fgSibTrans2D1" presStyleIdx="3" presStyleCnt="4"/>
      <dgm:spPr/>
    </dgm:pt>
  </dgm:ptLst>
  <dgm:cxnLst>
    <dgm:cxn modelId="{BDBEAA00-D20C-482A-80DD-A7E3E5F6BF19}" type="presOf" srcId="{15848EBA-493F-4766-974B-676C27BFE3D9}" destId="{66CBC6BE-F40C-4613-B83C-ED250A9F25CB}" srcOrd="1" destOrd="0" presId="urn:microsoft.com/office/officeart/2005/8/layout/cycle8"/>
    <dgm:cxn modelId="{3D970202-D8BA-4EA5-94B7-12A19B3D14CA}" type="presOf" srcId="{8BA3BFB4-F268-4A45-95DB-94ADDE23522E}" destId="{D1824492-FF5D-4689-A3AE-A958E49DC1CF}" srcOrd="1" destOrd="0" presId="urn:microsoft.com/office/officeart/2005/8/layout/cycle8"/>
    <dgm:cxn modelId="{17F2310C-FD0C-40AB-ADAE-AF30F38F0EB0}" srcId="{62E8A0CC-7B1A-472D-854D-0AEB74A368BE}" destId="{15848EBA-493F-4766-974B-676C27BFE3D9}" srcOrd="3" destOrd="0" parTransId="{6C39BAF2-94C8-4F7B-BA26-50F8AE89E2B0}" sibTransId="{F8DFC676-622F-4EEC-92F0-36435555F987}"/>
    <dgm:cxn modelId="{11896810-30BA-4DFD-A369-4590327FB751}" srcId="{62E8A0CC-7B1A-472D-854D-0AEB74A368BE}" destId="{8BA3BFB4-F268-4A45-95DB-94ADDE23522E}" srcOrd="0" destOrd="0" parTransId="{C3DC2BC3-66DA-4ACA-B077-0043B7BEE5D7}" sibTransId="{D37C55AA-E1FA-4269-A324-5E6F6427541B}"/>
    <dgm:cxn modelId="{B2AFEC60-9445-4A03-85D3-19C286EE8D0C}" srcId="{62E8A0CC-7B1A-472D-854D-0AEB74A368BE}" destId="{430BCA2E-FE17-4CC6-B3E6-7F4D25738751}" srcOrd="2" destOrd="0" parTransId="{A3453F60-3733-4320-A04B-77BDF9E75AFC}" sibTransId="{4E1FAC4A-B33F-48FA-9993-1A12A5769C10}"/>
    <dgm:cxn modelId="{8EBBBA47-0EB4-4DE2-A5D2-9E6A4246DEC9}" type="presOf" srcId="{430BCA2E-FE17-4CC6-B3E6-7F4D25738751}" destId="{22436A4C-B7C9-4B50-AA70-FAA768A67624}" srcOrd="1" destOrd="0" presId="urn:microsoft.com/office/officeart/2005/8/layout/cycle8"/>
    <dgm:cxn modelId="{8C8BAB71-27A1-4F6E-A504-D250AF1DCA08}" type="presOf" srcId="{0838BE74-E7FC-41AD-8E10-534F4627DDB5}" destId="{88DEA717-472C-4738-B8CB-8CE01740C3A2}" srcOrd="1" destOrd="0" presId="urn:microsoft.com/office/officeart/2005/8/layout/cycle8"/>
    <dgm:cxn modelId="{15B92693-6A83-47DC-B92D-506D75E8B2A5}" srcId="{62E8A0CC-7B1A-472D-854D-0AEB74A368BE}" destId="{0838BE74-E7FC-41AD-8E10-534F4627DDB5}" srcOrd="1" destOrd="0" parTransId="{218926F2-0455-4E0E-8D89-F403F6DF1C00}" sibTransId="{B83418C6-BE75-4A0C-9BBA-87CE796463B4}"/>
    <dgm:cxn modelId="{52990594-70ED-4C3D-B6ED-E9E2AE50F580}" type="presOf" srcId="{62E8A0CC-7B1A-472D-854D-0AEB74A368BE}" destId="{FFC7A71B-697A-4492-94D6-1C0657D288E2}" srcOrd="0" destOrd="0" presId="urn:microsoft.com/office/officeart/2005/8/layout/cycle8"/>
    <dgm:cxn modelId="{7B13D495-8C0C-4053-9C0E-57FB07BF5EF3}" type="presOf" srcId="{430BCA2E-FE17-4CC6-B3E6-7F4D25738751}" destId="{BA96C5E3-1886-4E34-A514-69BA765CFFD8}" srcOrd="0" destOrd="0" presId="urn:microsoft.com/office/officeart/2005/8/layout/cycle8"/>
    <dgm:cxn modelId="{E0AC09CE-0AC0-43C6-93B2-B0F4FC573054}" type="presOf" srcId="{8BA3BFB4-F268-4A45-95DB-94ADDE23522E}" destId="{07B07E17-DE47-4829-911D-88AC6D949DFA}" srcOrd="0" destOrd="0" presId="urn:microsoft.com/office/officeart/2005/8/layout/cycle8"/>
    <dgm:cxn modelId="{31551AEA-2976-4BD1-932C-DEE5C6861C24}" type="presOf" srcId="{15848EBA-493F-4766-974B-676C27BFE3D9}" destId="{89A4B5C7-CBFD-4DCB-8093-541A2C7FB3AD}" srcOrd="0" destOrd="0" presId="urn:microsoft.com/office/officeart/2005/8/layout/cycle8"/>
    <dgm:cxn modelId="{E7A9A6FF-0F18-4CCB-81EB-3EC04A7E05CF}" type="presOf" srcId="{0838BE74-E7FC-41AD-8E10-534F4627DDB5}" destId="{FD7AC0E5-D6DE-4B7A-BB62-FAA01FFD0C54}" srcOrd="0" destOrd="0" presId="urn:microsoft.com/office/officeart/2005/8/layout/cycle8"/>
    <dgm:cxn modelId="{38C51A05-A22D-403A-AC7B-B4D3EF243576}" type="presParOf" srcId="{FFC7A71B-697A-4492-94D6-1C0657D288E2}" destId="{07B07E17-DE47-4829-911D-88AC6D949DFA}" srcOrd="0" destOrd="0" presId="urn:microsoft.com/office/officeart/2005/8/layout/cycle8"/>
    <dgm:cxn modelId="{85E3C8FF-B266-482D-B5D7-E84C2A27C1C2}" type="presParOf" srcId="{FFC7A71B-697A-4492-94D6-1C0657D288E2}" destId="{EC3C5697-F58E-4D34-A47B-44E8F44E3E0C}" srcOrd="1" destOrd="0" presId="urn:microsoft.com/office/officeart/2005/8/layout/cycle8"/>
    <dgm:cxn modelId="{40D02756-BE8B-472B-ACE9-C9F927356B4B}" type="presParOf" srcId="{FFC7A71B-697A-4492-94D6-1C0657D288E2}" destId="{3A4E0685-99D7-40C1-811B-1DCEF2BA884D}" srcOrd="2" destOrd="0" presId="urn:microsoft.com/office/officeart/2005/8/layout/cycle8"/>
    <dgm:cxn modelId="{0D0DD023-9EBA-4F9B-97C7-CE0C74519EB1}" type="presParOf" srcId="{FFC7A71B-697A-4492-94D6-1C0657D288E2}" destId="{D1824492-FF5D-4689-A3AE-A958E49DC1CF}" srcOrd="3" destOrd="0" presId="urn:microsoft.com/office/officeart/2005/8/layout/cycle8"/>
    <dgm:cxn modelId="{73C82753-464A-4959-BC42-05225150A5F9}" type="presParOf" srcId="{FFC7A71B-697A-4492-94D6-1C0657D288E2}" destId="{FD7AC0E5-D6DE-4B7A-BB62-FAA01FFD0C54}" srcOrd="4" destOrd="0" presId="urn:microsoft.com/office/officeart/2005/8/layout/cycle8"/>
    <dgm:cxn modelId="{17DB2C95-6B89-419C-AA98-DB0118EAEF63}" type="presParOf" srcId="{FFC7A71B-697A-4492-94D6-1C0657D288E2}" destId="{B8BC85C6-9508-4C0B-94AD-695C2B9EC301}" srcOrd="5" destOrd="0" presId="urn:microsoft.com/office/officeart/2005/8/layout/cycle8"/>
    <dgm:cxn modelId="{95F0C3EE-A21D-466A-A3BB-54765853A7BA}" type="presParOf" srcId="{FFC7A71B-697A-4492-94D6-1C0657D288E2}" destId="{2DD99AA2-6F48-46D9-B122-1E329741FCEF}" srcOrd="6" destOrd="0" presId="urn:microsoft.com/office/officeart/2005/8/layout/cycle8"/>
    <dgm:cxn modelId="{B674141B-41E2-412C-92B2-11BF34F8479C}" type="presParOf" srcId="{FFC7A71B-697A-4492-94D6-1C0657D288E2}" destId="{88DEA717-472C-4738-B8CB-8CE01740C3A2}" srcOrd="7" destOrd="0" presId="urn:microsoft.com/office/officeart/2005/8/layout/cycle8"/>
    <dgm:cxn modelId="{530B1AE6-A7FA-47D7-87B4-06EE95663D80}" type="presParOf" srcId="{FFC7A71B-697A-4492-94D6-1C0657D288E2}" destId="{BA96C5E3-1886-4E34-A514-69BA765CFFD8}" srcOrd="8" destOrd="0" presId="urn:microsoft.com/office/officeart/2005/8/layout/cycle8"/>
    <dgm:cxn modelId="{90360636-5341-4353-9A65-40A07FCC97B1}" type="presParOf" srcId="{FFC7A71B-697A-4492-94D6-1C0657D288E2}" destId="{8D9530A0-CFE9-494B-8A6F-A30A32B2A90E}" srcOrd="9" destOrd="0" presId="urn:microsoft.com/office/officeart/2005/8/layout/cycle8"/>
    <dgm:cxn modelId="{2EE735BB-580C-49A4-AA65-1FD7036D1058}" type="presParOf" srcId="{FFC7A71B-697A-4492-94D6-1C0657D288E2}" destId="{38C7D9BD-EDA7-4C19-9014-10517F2D444D}" srcOrd="10" destOrd="0" presId="urn:microsoft.com/office/officeart/2005/8/layout/cycle8"/>
    <dgm:cxn modelId="{D8DB6044-FD10-46B3-B89F-933BE7CDDD86}" type="presParOf" srcId="{FFC7A71B-697A-4492-94D6-1C0657D288E2}" destId="{22436A4C-B7C9-4B50-AA70-FAA768A67624}" srcOrd="11" destOrd="0" presId="urn:microsoft.com/office/officeart/2005/8/layout/cycle8"/>
    <dgm:cxn modelId="{9F56C84D-4DAC-400C-A036-8498A86FE24D}" type="presParOf" srcId="{FFC7A71B-697A-4492-94D6-1C0657D288E2}" destId="{89A4B5C7-CBFD-4DCB-8093-541A2C7FB3AD}" srcOrd="12" destOrd="0" presId="urn:microsoft.com/office/officeart/2005/8/layout/cycle8"/>
    <dgm:cxn modelId="{131226BD-3D71-413A-9ECE-DE4C3787F8DE}" type="presParOf" srcId="{FFC7A71B-697A-4492-94D6-1C0657D288E2}" destId="{E5153C49-CC49-4A17-8DBA-3D5A1C4E82AD}" srcOrd="13" destOrd="0" presId="urn:microsoft.com/office/officeart/2005/8/layout/cycle8"/>
    <dgm:cxn modelId="{1FADD572-3827-4AD7-964D-BF7342C29870}" type="presParOf" srcId="{FFC7A71B-697A-4492-94D6-1C0657D288E2}" destId="{79D861D1-C2C4-45C2-AE51-A216A4749A99}" srcOrd="14" destOrd="0" presId="urn:microsoft.com/office/officeart/2005/8/layout/cycle8"/>
    <dgm:cxn modelId="{721C5DA0-7DD2-4453-BBC2-48570966A896}" type="presParOf" srcId="{FFC7A71B-697A-4492-94D6-1C0657D288E2}" destId="{66CBC6BE-F40C-4613-B83C-ED250A9F25CB}" srcOrd="15" destOrd="0" presId="urn:microsoft.com/office/officeart/2005/8/layout/cycle8"/>
    <dgm:cxn modelId="{59C49D42-470D-4D76-97EA-0FC4031E4214}" type="presParOf" srcId="{FFC7A71B-697A-4492-94D6-1C0657D288E2}" destId="{7FB20AC5-19F6-4C40-B06E-B91AADD343EB}" srcOrd="16" destOrd="0" presId="urn:microsoft.com/office/officeart/2005/8/layout/cycle8"/>
    <dgm:cxn modelId="{67B925F2-F511-481D-A306-DEC426B15279}" type="presParOf" srcId="{FFC7A71B-697A-4492-94D6-1C0657D288E2}" destId="{F27FA0E3-C2F7-44C4-8638-14D8DA938170}" srcOrd="17" destOrd="0" presId="urn:microsoft.com/office/officeart/2005/8/layout/cycle8"/>
    <dgm:cxn modelId="{6A37D59F-95AC-4BD5-A379-CAD28050B2AF}" type="presParOf" srcId="{FFC7A71B-697A-4492-94D6-1C0657D288E2}" destId="{42381FB1-FC83-4305-B481-7D2A47FA5F8A}" srcOrd="18" destOrd="0" presId="urn:microsoft.com/office/officeart/2005/8/layout/cycle8"/>
    <dgm:cxn modelId="{C2917D63-110B-48F0-A092-7E1CF38FFC87}" type="presParOf" srcId="{FFC7A71B-697A-4492-94D6-1C0657D288E2}" destId="{2B9CB229-072F-4692-82DD-680D0660D823}"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2E8A0CC-7B1A-472D-854D-0AEB74A368BE}" type="doc">
      <dgm:prSet loTypeId="urn:microsoft.com/office/officeart/2005/8/layout/cycle8" loCatId="cycle" qsTypeId="urn:microsoft.com/office/officeart/2005/8/quickstyle/simple1" qsCatId="simple" csTypeId="urn:microsoft.com/office/officeart/2005/8/colors/accent3_3" csCatId="accent3" phldr="1"/>
      <dgm:spPr/>
    </dgm:pt>
    <dgm:pt modelId="{8BA3BFB4-F268-4A45-95DB-94ADDE23522E}">
      <dgm:prSet phldrT="[Text]" custT="1"/>
      <dgm:spPr/>
      <dgm:t>
        <a:bodyPr/>
        <a:lstStyle/>
        <a:p>
          <a:r>
            <a:rPr lang="en-CH" sz="400" dirty="0"/>
            <a:t>Optimisation des antibiotiques et adoption massive</a:t>
          </a:r>
          <a:endParaRPr lang="en-US" sz="400" dirty="0"/>
        </a:p>
      </dgm:t>
    </dgm:pt>
    <dgm:pt modelId="{C3DC2BC3-66DA-4ACA-B077-0043B7BEE5D7}" type="parTrans" cxnId="{11896810-30BA-4DFD-A369-4590327FB751}">
      <dgm:prSet/>
      <dgm:spPr/>
      <dgm:t>
        <a:bodyPr/>
        <a:lstStyle/>
        <a:p>
          <a:endParaRPr lang="en-US" sz="400"/>
        </a:p>
      </dgm:t>
    </dgm:pt>
    <dgm:pt modelId="{D37C55AA-E1FA-4269-A324-5E6F6427541B}" type="sibTrans" cxnId="{11896810-30BA-4DFD-A369-4590327FB751}">
      <dgm:prSet/>
      <dgm:spPr/>
      <dgm:t>
        <a:bodyPr/>
        <a:lstStyle/>
        <a:p>
          <a:endParaRPr lang="en-US" sz="400"/>
        </a:p>
      </dgm:t>
    </dgm:pt>
    <dgm:pt modelId="{430BCA2E-FE17-4CC6-B3E6-7F4D25738751}">
      <dgm:prSet phldrT="[Text]" custT="1"/>
      <dgm:spPr/>
      <dgm:t>
        <a:bodyPr/>
        <a:lstStyle/>
        <a:p>
          <a:r>
            <a:rPr lang="en-CH" sz="400" dirty="0">
              <a:solidFill>
                <a:srgbClr val="C00000"/>
              </a:solidFill>
            </a:rPr>
            <a:t>Licences pour la fabrication et l'accès</a:t>
          </a:r>
          <a:endParaRPr lang="en-US" sz="400" dirty="0">
            <a:solidFill>
              <a:srgbClr val="C00000"/>
            </a:solidFill>
          </a:endParaRPr>
        </a:p>
      </dgm:t>
    </dgm:pt>
    <dgm:pt modelId="{A3453F60-3733-4320-A04B-77BDF9E75AFC}" type="parTrans" cxnId="{B2AFEC60-9445-4A03-85D3-19C286EE8D0C}">
      <dgm:prSet/>
      <dgm:spPr/>
      <dgm:t>
        <a:bodyPr/>
        <a:lstStyle/>
        <a:p>
          <a:endParaRPr lang="en-US" sz="400"/>
        </a:p>
      </dgm:t>
    </dgm:pt>
    <dgm:pt modelId="{4E1FAC4A-B33F-48FA-9993-1A12A5769C10}" type="sibTrans" cxnId="{B2AFEC60-9445-4A03-85D3-19C286EE8D0C}">
      <dgm:prSet/>
      <dgm:spPr/>
      <dgm:t>
        <a:bodyPr/>
        <a:lstStyle/>
        <a:p>
          <a:endParaRPr lang="en-US" sz="400"/>
        </a:p>
      </dgm:t>
    </dgm:pt>
    <dgm:pt modelId="{15848EBA-493F-4766-974B-676C27BFE3D9}">
      <dgm:prSet phldrT="[Text]" custT="1"/>
      <dgm:spPr/>
      <dgm:t>
        <a:bodyPr/>
        <a:lstStyle/>
        <a:p>
          <a:r>
            <a:rPr lang="en-CH" sz="400" dirty="0">
              <a:solidFill>
                <a:schemeClr val="bg1"/>
              </a:solidFill>
            </a:rPr>
            <a:t>Développement de médicaments à but non lucratif </a:t>
          </a:r>
          <a:endParaRPr lang="en-US" sz="400" dirty="0">
            <a:solidFill>
              <a:schemeClr val="bg1"/>
            </a:solidFill>
          </a:endParaRPr>
        </a:p>
      </dgm:t>
    </dgm:pt>
    <dgm:pt modelId="{6C39BAF2-94C8-4F7B-BA26-50F8AE89E2B0}" type="parTrans" cxnId="{17F2310C-FD0C-40AB-ADAE-AF30F38F0EB0}">
      <dgm:prSet/>
      <dgm:spPr/>
      <dgm:t>
        <a:bodyPr/>
        <a:lstStyle/>
        <a:p>
          <a:endParaRPr lang="en-US" sz="400"/>
        </a:p>
      </dgm:t>
    </dgm:pt>
    <dgm:pt modelId="{F8DFC676-622F-4EEC-92F0-36435555F987}" type="sibTrans" cxnId="{17F2310C-FD0C-40AB-ADAE-AF30F38F0EB0}">
      <dgm:prSet/>
      <dgm:spPr/>
      <dgm:t>
        <a:bodyPr/>
        <a:lstStyle/>
        <a:p>
          <a:endParaRPr lang="en-US" sz="400"/>
        </a:p>
      </dgm:t>
    </dgm:pt>
    <dgm:pt modelId="{0838BE74-E7FC-41AD-8E10-534F4627DDB5}">
      <dgm:prSet phldrT="[Text]" custT="1"/>
      <dgm:spPr/>
      <dgm:t>
        <a:bodyPr/>
        <a:lstStyle/>
        <a:p>
          <a:r>
            <a:rPr lang="en-CH" sz="400" dirty="0"/>
            <a:t>Efficacité et transparence du marché</a:t>
          </a:r>
          <a:endParaRPr lang="en-US" sz="400" dirty="0"/>
        </a:p>
      </dgm:t>
    </dgm:pt>
    <dgm:pt modelId="{218926F2-0455-4E0E-8D89-F403F6DF1C00}" type="parTrans" cxnId="{15B92693-6A83-47DC-B92D-506D75E8B2A5}">
      <dgm:prSet/>
      <dgm:spPr/>
      <dgm:t>
        <a:bodyPr/>
        <a:lstStyle/>
        <a:p>
          <a:endParaRPr lang="en-US" sz="400"/>
        </a:p>
      </dgm:t>
    </dgm:pt>
    <dgm:pt modelId="{B83418C6-BE75-4A0C-9BBA-87CE796463B4}" type="sibTrans" cxnId="{15B92693-6A83-47DC-B92D-506D75E8B2A5}">
      <dgm:prSet/>
      <dgm:spPr/>
      <dgm:t>
        <a:bodyPr/>
        <a:lstStyle/>
        <a:p>
          <a:endParaRPr lang="en-US" sz="400"/>
        </a:p>
      </dgm:t>
    </dgm:pt>
    <dgm:pt modelId="{FFC7A71B-697A-4492-94D6-1C0657D288E2}" type="pres">
      <dgm:prSet presAssocID="{62E8A0CC-7B1A-472D-854D-0AEB74A368BE}" presName="compositeShape" presStyleCnt="0">
        <dgm:presLayoutVars>
          <dgm:chMax val="7"/>
          <dgm:dir/>
          <dgm:resizeHandles val="exact"/>
        </dgm:presLayoutVars>
      </dgm:prSet>
      <dgm:spPr/>
    </dgm:pt>
    <dgm:pt modelId="{07B07E17-DE47-4829-911D-88AC6D949DFA}" type="pres">
      <dgm:prSet presAssocID="{62E8A0CC-7B1A-472D-854D-0AEB74A368BE}" presName="wedge1" presStyleLbl="node1" presStyleIdx="0" presStyleCnt="4"/>
      <dgm:spPr/>
    </dgm:pt>
    <dgm:pt modelId="{EC3C5697-F58E-4D34-A47B-44E8F44E3E0C}" type="pres">
      <dgm:prSet presAssocID="{62E8A0CC-7B1A-472D-854D-0AEB74A368BE}" presName="dummy1a" presStyleCnt="0"/>
      <dgm:spPr/>
    </dgm:pt>
    <dgm:pt modelId="{3A4E0685-99D7-40C1-811B-1DCEF2BA884D}" type="pres">
      <dgm:prSet presAssocID="{62E8A0CC-7B1A-472D-854D-0AEB74A368BE}" presName="dummy1b" presStyleCnt="0"/>
      <dgm:spPr/>
    </dgm:pt>
    <dgm:pt modelId="{D1824492-FF5D-4689-A3AE-A958E49DC1CF}" type="pres">
      <dgm:prSet presAssocID="{62E8A0CC-7B1A-472D-854D-0AEB74A368BE}" presName="wedge1Tx" presStyleLbl="node1" presStyleIdx="0" presStyleCnt="4">
        <dgm:presLayoutVars>
          <dgm:chMax val="0"/>
          <dgm:chPref val="0"/>
          <dgm:bulletEnabled val="1"/>
        </dgm:presLayoutVars>
      </dgm:prSet>
      <dgm:spPr/>
    </dgm:pt>
    <dgm:pt modelId="{FD7AC0E5-D6DE-4B7A-BB62-FAA01FFD0C54}" type="pres">
      <dgm:prSet presAssocID="{62E8A0CC-7B1A-472D-854D-0AEB74A368BE}" presName="wedge2" presStyleLbl="node1" presStyleIdx="1" presStyleCnt="4"/>
      <dgm:spPr/>
    </dgm:pt>
    <dgm:pt modelId="{B8BC85C6-9508-4C0B-94AD-695C2B9EC301}" type="pres">
      <dgm:prSet presAssocID="{62E8A0CC-7B1A-472D-854D-0AEB74A368BE}" presName="dummy2a" presStyleCnt="0"/>
      <dgm:spPr/>
    </dgm:pt>
    <dgm:pt modelId="{2DD99AA2-6F48-46D9-B122-1E329741FCEF}" type="pres">
      <dgm:prSet presAssocID="{62E8A0CC-7B1A-472D-854D-0AEB74A368BE}" presName="dummy2b" presStyleCnt="0"/>
      <dgm:spPr/>
    </dgm:pt>
    <dgm:pt modelId="{88DEA717-472C-4738-B8CB-8CE01740C3A2}" type="pres">
      <dgm:prSet presAssocID="{62E8A0CC-7B1A-472D-854D-0AEB74A368BE}" presName="wedge2Tx" presStyleLbl="node1" presStyleIdx="1" presStyleCnt="4">
        <dgm:presLayoutVars>
          <dgm:chMax val="0"/>
          <dgm:chPref val="0"/>
          <dgm:bulletEnabled val="1"/>
        </dgm:presLayoutVars>
      </dgm:prSet>
      <dgm:spPr/>
    </dgm:pt>
    <dgm:pt modelId="{BA96C5E3-1886-4E34-A514-69BA765CFFD8}" type="pres">
      <dgm:prSet presAssocID="{62E8A0CC-7B1A-472D-854D-0AEB74A368BE}" presName="wedge3" presStyleLbl="node1" presStyleIdx="2" presStyleCnt="4"/>
      <dgm:spPr/>
    </dgm:pt>
    <dgm:pt modelId="{8D9530A0-CFE9-494B-8A6F-A30A32B2A90E}" type="pres">
      <dgm:prSet presAssocID="{62E8A0CC-7B1A-472D-854D-0AEB74A368BE}" presName="dummy3a" presStyleCnt="0"/>
      <dgm:spPr/>
    </dgm:pt>
    <dgm:pt modelId="{38C7D9BD-EDA7-4C19-9014-10517F2D444D}" type="pres">
      <dgm:prSet presAssocID="{62E8A0CC-7B1A-472D-854D-0AEB74A368BE}" presName="dummy3b" presStyleCnt="0"/>
      <dgm:spPr/>
    </dgm:pt>
    <dgm:pt modelId="{22436A4C-B7C9-4B50-AA70-FAA768A67624}" type="pres">
      <dgm:prSet presAssocID="{62E8A0CC-7B1A-472D-854D-0AEB74A368BE}" presName="wedge3Tx" presStyleLbl="node1" presStyleIdx="2" presStyleCnt="4">
        <dgm:presLayoutVars>
          <dgm:chMax val="0"/>
          <dgm:chPref val="0"/>
          <dgm:bulletEnabled val="1"/>
        </dgm:presLayoutVars>
      </dgm:prSet>
      <dgm:spPr/>
    </dgm:pt>
    <dgm:pt modelId="{89A4B5C7-CBFD-4DCB-8093-541A2C7FB3AD}" type="pres">
      <dgm:prSet presAssocID="{62E8A0CC-7B1A-472D-854D-0AEB74A368BE}" presName="wedge4" presStyleLbl="node1" presStyleIdx="3" presStyleCnt="4"/>
      <dgm:spPr/>
    </dgm:pt>
    <dgm:pt modelId="{E5153C49-CC49-4A17-8DBA-3D5A1C4E82AD}" type="pres">
      <dgm:prSet presAssocID="{62E8A0CC-7B1A-472D-854D-0AEB74A368BE}" presName="dummy4a" presStyleCnt="0"/>
      <dgm:spPr/>
    </dgm:pt>
    <dgm:pt modelId="{79D861D1-C2C4-45C2-AE51-A216A4749A99}" type="pres">
      <dgm:prSet presAssocID="{62E8A0CC-7B1A-472D-854D-0AEB74A368BE}" presName="dummy4b" presStyleCnt="0"/>
      <dgm:spPr/>
    </dgm:pt>
    <dgm:pt modelId="{66CBC6BE-F40C-4613-B83C-ED250A9F25CB}" type="pres">
      <dgm:prSet presAssocID="{62E8A0CC-7B1A-472D-854D-0AEB74A368BE}" presName="wedge4Tx" presStyleLbl="node1" presStyleIdx="3" presStyleCnt="4">
        <dgm:presLayoutVars>
          <dgm:chMax val="0"/>
          <dgm:chPref val="0"/>
          <dgm:bulletEnabled val="1"/>
        </dgm:presLayoutVars>
      </dgm:prSet>
      <dgm:spPr/>
    </dgm:pt>
    <dgm:pt modelId="{7FB20AC5-19F6-4C40-B06E-B91AADD343EB}" type="pres">
      <dgm:prSet presAssocID="{D37C55AA-E1FA-4269-A324-5E6F6427541B}" presName="arrowWedge1" presStyleLbl="fgSibTrans2D1" presStyleIdx="0" presStyleCnt="4"/>
      <dgm:spPr/>
    </dgm:pt>
    <dgm:pt modelId="{F27FA0E3-C2F7-44C4-8638-14D8DA938170}" type="pres">
      <dgm:prSet presAssocID="{B83418C6-BE75-4A0C-9BBA-87CE796463B4}" presName="arrowWedge2" presStyleLbl="fgSibTrans2D1" presStyleIdx="1" presStyleCnt="4"/>
      <dgm:spPr/>
    </dgm:pt>
    <dgm:pt modelId="{42381FB1-FC83-4305-B481-7D2A47FA5F8A}" type="pres">
      <dgm:prSet presAssocID="{4E1FAC4A-B33F-48FA-9993-1A12A5769C10}" presName="arrowWedge3" presStyleLbl="fgSibTrans2D1" presStyleIdx="2" presStyleCnt="4"/>
      <dgm:spPr/>
    </dgm:pt>
    <dgm:pt modelId="{2B9CB229-072F-4692-82DD-680D0660D823}" type="pres">
      <dgm:prSet presAssocID="{F8DFC676-622F-4EEC-92F0-36435555F987}" presName="arrowWedge4" presStyleLbl="fgSibTrans2D1" presStyleIdx="3" presStyleCnt="4"/>
      <dgm:spPr/>
    </dgm:pt>
  </dgm:ptLst>
  <dgm:cxnLst>
    <dgm:cxn modelId="{BDBEAA00-D20C-482A-80DD-A7E3E5F6BF19}" type="presOf" srcId="{15848EBA-493F-4766-974B-676C27BFE3D9}" destId="{66CBC6BE-F40C-4613-B83C-ED250A9F25CB}" srcOrd="1" destOrd="0" presId="urn:microsoft.com/office/officeart/2005/8/layout/cycle8"/>
    <dgm:cxn modelId="{3D970202-D8BA-4EA5-94B7-12A19B3D14CA}" type="presOf" srcId="{8BA3BFB4-F268-4A45-95DB-94ADDE23522E}" destId="{D1824492-FF5D-4689-A3AE-A958E49DC1CF}" srcOrd="1" destOrd="0" presId="urn:microsoft.com/office/officeart/2005/8/layout/cycle8"/>
    <dgm:cxn modelId="{17F2310C-FD0C-40AB-ADAE-AF30F38F0EB0}" srcId="{62E8A0CC-7B1A-472D-854D-0AEB74A368BE}" destId="{15848EBA-493F-4766-974B-676C27BFE3D9}" srcOrd="3" destOrd="0" parTransId="{6C39BAF2-94C8-4F7B-BA26-50F8AE89E2B0}" sibTransId="{F8DFC676-622F-4EEC-92F0-36435555F987}"/>
    <dgm:cxn modelId="{11896810-30BA-4DFD-A369-4590327FB751}" srcId="{62E8A0CC-7B1A-472D-854D-0AEB74A368BE}" destId="{8BA3BFB4-F268-4A45-95DB-94ADDE23522E}" srcOrd="0" destOrd="0" parTransId="{C3DC2BC3-66DA-4ACA-B077-0043B7BEE5D7}" sibTransId="{D37C55AA-E1FA-4269-A324-5E6F6427541B}"/>
    <dgm:cxn modelId="{B2AFEC60-9445-4A03-85D3-19C286EE8D0C}" srcId="{62E8A0CC-7B1A-472D-854D-0AEB74A368BE}" destId="{430BCA2E-FE17-4CC6-B3E6-7F4D25738751}" srcOrd="2" destOrd="0" parTransId="{A3453F60-3733-4320-A04B-77BDF9E75AFC}" sibTransId="{4E1FAC4A-B33F-48FA-9993-1A12A5769C10}"/>
    <dgm:cxn modelId="{8EBBBA47-0EB4-4DE2-A5D2-9E6A4246DEC9}" type="presOf" srcId="{430BCA2E-FE17-4CC6-B3E6-7F4D25738751}" destId="{22436A4C-B7C9-4B50-AA70-FAA768A67624}" srcOrd="1" destOrd="0" presId="urn:microsoft.com/office/officeart/2005/8/layout/cycle8"/>
    <dgm:cxn modelId="{8C8BAB71-27A1-4F6E-A504-D250AF1DCA08}" type="presOf" srcId="{0838BE74-E7FC-41AD-8E10-534F4627DDB5}" destId="{88DEA717-472C-4738-B8CB-8CE01740C3A2}" srcOrd="1" destOrd="0" presId="urn:microsoft.com/office/officeart/2005/8/layout/cycle8"/>
    <dgm:cxn modelId="{15B92693-6A83-47DC-B92D-506D75E8B2A5}" srcId="{62E8A0CC-7B1A-472D-854D-0AEB74A368BE}" destId="{0838BE74-E7FC-41AD-8E10-534F4627DDB5}" srcOrd="1" destOrd="0" parTransId="{218926F2-0455-4E0E-8D89-F403F6DF1C00}" sibTransId="{B83418C6-BE75-4A0C-9BBA-87CE796463B4}"/>
    <dgm:cxn modelId="{52990594-70ED-4C3D-B6ED-E9E2AE50F580}" type="presOf" srcId="{62E8A0CC-7B1A-472D-854D-0AEB74A368BE}" destId="{FFC7A71B-697A-4492-94D6-1C0657D288E2}" srcOrd="0" destOrd="0" presId="urn:microsoft.com/office/officeart/2005/8/layout/cycle8"/>
    <dgm:cxn modelId="{7B13D495-8C0C-4053-9C0E-57FB07BF5EF3}" type="presOf" srcId="{430BCA2E-FE17-4CC6-B3E6-7F4D25738751}" destId="{BA96C5E3-1886-4E34-A514-69BA765CFFD8}" srcOrd="0" destOrd="0" presId="urn:microsoft.com/office/officeart/2005/8/layout/cycle8"/>
    <dgm:cxn modelId="{E0AC09CE-0AC0-43C6-93B2-B0F4FC573054}" type="presOf" srcId="{8BA3BFB4-F268-4A45-95DB-94ADDE23522E}" destId="{07B07E17-DE47-4829-911D-88AC6D949DFA}" srcOrd="0" destOrd="0" presId="urn:microsoft.com/office/officeart/2005/8/layout/cycle8"/>
    <dgm:cxn modelId="{31551AEA-2976-4BD1-932C-DEE5C6861C24}" type="presOf" srcId="{15848EBA-493F-4766-974B-676C27BFE3D9}" destId="{89A4B5C7-CBFD-4DCB-8093-541A2C7FB3AD}" srcOrd="0" destOrd="0" presId="urn:microsoft.com/office/officeart/2005/8/layout/cycle8"/>
    <dgm:cxn modelId="{E7A9A6FF-0F18-4CCB-81EB-3EC04A7E05CF}" type="presOf" srcId="{0838BE74-E7FC-41AD-8E10-534F4627DDB5}" destId="{FD7AC0E5-D6DE-4B7A-BB62-FAA01FFD0C54}" srcOrd="0" destOrd="0" presId="urn:microsoft.com/office/officeart/2005/8/layout/cycle8"/>
    <dgm:cxn modelId="{38C51A05-A22D-403A-AC7B-B4D3EF243576}" type="presParOf" srcId="{FFC7A71B-697A-4492-94D6-1C0657D288E2}" destId="{07B07E17-DE47-4829-911D-88AC6D949DFA}" srcOrd="0" destOrd="0" presId="urn:microsoft.com/office/officeart/2005/8/layout/cycle8"/>
    <dgm:cxn modelId="{85E3C8FF-B266-482D-B5D7-E84C2A27C1C2}" type="presParOf" srcId="{FFC7A71B-697A-4492-94D6-1C0657D288E2}" destId="{EC3C5697-F58E-4D34-A47B-44E8F44E3E0C}" srcOrd="1" destOrd="0" presId="urn:microsoft.com/office/officeart/2005/8/layout/cycle8"/>
    <dgm:cxn modelId="{40D02756-BE8B-472B-ACE9-C9F927356B4B}" type="presParOf" srcId="{FFC7A71B-697A-4492-94D6-1C0657D288E2}" destId="{3A4E0685-99D7-40C1-811B-1DCEF2BA884D}" srcOrd="2" destOrd="0" presId="urn:microsoft.com/office/officeart/2005/8/layout/cycle8"/>
    <dgm:cxn modelId="{0D0DD023-9EBA-4F9B-97C7-CE0C74519EB1}" type="presParOf" srcId="{FFC7A71B-697A-4492-94D6-1C0657D288E2}" destId="{D1824492-FF5D-4689-A3AE-A958E49DC1CF}" srcOrd="3" destOrd="0" presId="urn:microsoft.com/office/officeart/2005/8/layout/cycle8"/>
    <dgm:cxn modelId="{73C82753-464A-4959-BC42-05225150A5F9}" type="presParOf" srcId="{FFC7A71B-697A-4492-94D6-1C0657D288E2}" destId="{FD7AC0E5-D6DE-4B7A-BB62-FAA01FFD0C54}" srcOrd="4" destOrd="0" presId="urn:microsoft.com/office/officeart/2005/8/layout/cycle8"/>
    <dgm:cxn modelId="{17DB2C95-6B89-419C-AA98-DB0118EAEF63}" type="presParOf" srcId="{FFC7A71B-697A-4492-94D6-1C0657D288E2}" destId="{B8BC85C6-9508-4C0B-94AD-695C2B9EC301}" srcOrd="5" destOrd="0" presId="urn:microsoft.com/office/officeart/2005/8/layout/cycle8"/>
    <dgm:cxn modelId="{95F0C3EE-A21D-466A-A3BB-54765853A7BA}" type="presParOf" srcId="{FFC7A71B-697A-4492-94D6-1C0657D288E2}" destId="{2DD99AA2-6F48-46D9-B122-1E329741FCEF}" srcOrd="6" destOrd="0" presId="urn:microsoft.com/office/officeart/2005/8/layout/cycle8"/>
    <dgm:cxn modelId="{B674141B-41E2-412C-92B2-11BF34F8479C}" type="presParOf" srcId="{FFC7A71B-697A-4492-94D6-1C0657D288E2}" destId="{88DEA717-472C-4738-B8CB-8CE01740C3A2}" srcOrd="7" destOrd="0" presId="urn:microsoft.com/office/officeart/2005/8/layout/cycle8"/>
    <dgm:cxn modelId="{530B1AE6-A7FA-47D7-87B4-06EE95663D80}" type="presParOf" srcId="{FFC7A71B-697A-4492-94D6-1C0657D288E2}" destId="{BA96C5E3-1886-4E34-A514-69BA765CFFD8}" srcOrd="8" destOrd="0" presId="urn:microsoft.com/office/officeart/2005/8/layout/cycle8"/>
    <dgm:cxn modelId="{90360636-5341-4353-9A65-40A07FCC97B1}" type="presParOf" srcId="{FFC7A71B-697A-4492-94D6-1C0657D288E2}" destId="{8D9530A0-CFE9-494B-8A6F-A30A32B2A90E}" srcOrd="9" destOrd="0" presId="urn:microsoft.com/office/officeart/2005/8/layout/cycle8"/>
    <dgm:cxn modelId="{2EE735BB-580C-49A4-AA65-1FD7036D1058}" type="presParOf" srcId="{FFC7A71B-697A-4492-94D6-1C0657D288E2}" destId="{38C7D9BD-EDA7-4C19-9014-10517F2D444D}" srcOrd="10" destOrd="0" presId="urn:microsoft.com/office/officeart/2005/8/layout/cycle8"/>
    <dgm:cxn modelId="{D8DB6044-FD10-46B3-B89F-933BE7CDDD86}" type="presParOf" srcId="{FFC7A71B-697A-4492-94D6-1C0657D288E2}" destId="{22436A4C-B7C9-4B50-AA70-FAA768A67624}" srcOrd="11" destOrd="0" presId="urn:microsoft.com/office/officeart/2005/8/layout/cycle8"/>
    <dgm:cxn modelId="{9F56C84D-4DAC-400C-A036-8498A86FE24D}" type="presParOf" srcId="{FFC7A71B-697A-4492-94D6-1C0657D288E2}" destId="{89A4B5C7-CBFD-4DCB-8093-541A2C7FB3AD}" srcOrd="12" destOrd="0" presId="urn:microsoft.com/office/officeart/2005/8/layout/cycle8"/>
    <dgm:cxn modelId="{131226BD-3D71-413A-9ECE-DE4C3787F8DE}" type="presParOf" srcId="{FFC7A71B-697A-4492-94D6-1C0657D288E2}" destId="{E5153C49-CC49-4A17-8DBA-3D5A1C4E82AD}" srcOrd="13" destOrd="0" presId="urn:microsoft.com/office/officeart/2005/8/layout/cycle8"/>
    <dgm:cxn modelId="{1FADD572-3827-4AD7-964D-BF7342C29870}" type="presParOf" srcId="{FFC7A71B-697A-4492-94D6-1C0657D288E2}" destId="{79D861D1-C2C4-45C2-AE51-A216A4749A99}" srcOrd="14" destOrd="0" presId="urn:microsoft.com/office/officeart/2005/8/layout/cycle8"/>
    <dgm:cxn modelId="{721C5DA0-7DD2-4453-BBC2-48570966A896}" type="presParOf" srcId="{FFC7A71B-697A-4492-94D6-1C0657D288E2}" destId="{66CBC6BE-F40C-4613-B83C-ED250A9F25CB}" srcOrd="15" destOrd="0" presId="urn:microsoft.com/office/officeart/2005/8/layout/cycle8"/>
    <dgm:cxn modelId="{59C49D42-470D-4D76-97EA-0FC4031E4214}" type="presParOf" srcId="{FFC7A71B-697A-4492-94D6-1C0657D288E2}" destId="{7FB20AC5-19F6-4C40-B06E-B91AADD343EB}" srcOrd="16" destOrd="0" presId="urn:microsoft.com/office/officeart/2005/8/layout/cycle8"/>
    <dgm:cxn modelId="{67B925F2-F511-481D-A306-DEC426B15279}" type="presParOf" srcId="{FFC7A71B-697A-4492-94D6-1C0657D288E2}" destId="{F27FA0E3-C2F7-44C4-8638-14D8DA938170}" srcOrd="17" destOrd="0" presId="urn:microsoft.com/office/officeart/2005/8/layout/cycle8"/>
    <dgm:cxn modelId="{6A37D59F-95AC-4BD5-A379-CAD28050B2AF}" type="presParOf" srcId="{FFC7A71B-697A-4492-94D6-1C0657D288E2}" destId="{42381FB1-FC83-4305-B481-7D2A47FA5F8A}" srcOrd="18" destOrd="0" presId="urn:microsoft.com/office/officeart/2005/8/layout/cycle8"/>
    <dgm:cxn modelId="{C2917D63-110B-48F0-A092-7E1CF38FFC87}" type="presParOf" srcId="{FFC7A71B-697A-4492-94D6-1C0657D288E2}" destId="{2B9CB229-072F-4692-82DD-680D0660D823}"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2E8A0CC-7B1A-472D-854D-0AEB74A368BE}" type="doc">
      <dgm:prSet loTypeId="urn:microsoft.com/office/officeart/2005/8/layout/cycle8" loCatId="cycle" qsTypeId="urn:microsoft.com/office/officeart/2005/8/quickstyle/simple1" qsCatId="simple" csTypeId="urn:microsoft.com/office/officeart/2005/8/colors/accent3_3" csCatId="accent3" phldr="1"/>
      <dgm:spPr/>
    </dgm:pt>
    <dgm:pt modelId="{8BA3BFB4-F268-4A45-95DB-94ADDE23522E}">
      <dgm:prSet phldrT="[Text]" custT="1"/>
      <dgm:spPr/>
      <dgm:t>
        <a:bodyPr/>
        <a:lstStyle/>
        <a:p>
          <a:r>
            <a:rPr lang="en-CH" sz="400" dirty="0"/>
            <a:t>Optimisation des antibiotiques et adoption massive</a:t>
          </a:r>
          <a:endParaRPr lang="en-US" sz="400" dirty="0"/>
        </a:p>
      </dgm:t>
    </dgm:pt>
    <dgm:pt modelId="{C3DC2BC3-66DA-4ACA-B077-0043B7BEE5D7}" type="parTrans" cxnId="{11896810-30BA-4DFD-A369-4590327FB751}">
      <dgm:prSet/>
      <dgm:spPr/>
      <dgm:t>
        <a:bodyPr/>
        <a:lstStyle/>
        <a:p>
          <a:endParaRPr lang="en-US" sz="400"/>
        </a:p>
      </dgm:t>
    </dgm:pt>
    <dgm:pt modelId="{D37C55AA-E1FA-4269-A324-5E6F6427541B}" type="sibTrans" cxnId="{11896810-30BA-4DFD-A369-4590327FB751}">
      <dgm:prSet/>
      <dgm:spPr/>
      <dgm:t>
        <a:bodyPr/>
        <a:lstStyle/>
        <a:p>
          <a:endParaRPr lang="en-US" sz="400"/>
        </a:p>
      </dgm:t>
    </dgm:pt>
    <dgm:pt modelId="{430BCA2E-FE17-4CC6-B3E6-7F4D25738751}">
      <dgm:prSet phldrT="[Text]" custT="1"/>
      <dgm:spPr/>
      <dgm:t>
        <a:bodyPr/>
        <a:lstStyle/>
        <a:p>
          <a:r>
            <a:rPr lang="en-CH" sz="400" dirty="0">
              <a:solidFill>
                <a:schemeClr val="bg1"/>
              </a:solidFill>
            </a:rPr>
            <a:t>Licences pour la fabrication et l'accès</a:t>
          </a:r>
          <a:endParaRPr lang="en-US" sz="400" dirty="0">
            <a:solidFill>
              <a:schemeClr val="bg1"/>
            </a:solidFill>
          </a:endParaRPr>
        </a:p>
      </dgm:t>
    </dgm:pt>
    <dgm:pt modelId="{A3453F60-3733-4320-A04B-77BDF9E75AFC}" type="parTrans" cxnId="{B2AFEC60-9445-4A03-85D3-19C286EE8D0C}">
      <dgm:prSet/>
      <dgm:spPr/>
      <dgm:t>
        <a:bodyPr/>
        <a:lstStyle/>
        <a:p>
          <a:endParaRPr lang="en-US" sz="400"/>
        </a:p>
      </dgm:t>
    </dgm:pt>
    <dgm:pt modelId="{4E1FAC4A-B33F-48FA-9993-1A12A5769C10}" type="sibTrans" cxnId="{B2AFEC60-9445-4A03-85D3-19C286EE8D0C}">
      <dgm:prSet/>
      <dgm:spPr/>
      <dgm:t>
        <a:bodyPr/>
        <a:lstStyle/>
        <a:p>
          <a:endParaRPr lang="en-US" sz="400"/>
        </a:p>
      </dgm:t>
    </dgm:pt>
    <dgm:pt modelId="{15848EBA-493F-4766-974B-676C27BFE3D9}">
      <dgm:prSet phldrT="[Text]" custT="1"/>
      <dgm:spPr/>
      <dgm:t>
        <a:bodyPr/>
        <a:lstStyle/>
        <a:p>
          <a:r>
            <a:rPr lang="en-CH" sz="400" dirty="0">
              <a:solidFill>
                <a:schemeClr val="bg1"/>
              </a:solidFill>
            </a:rPr>
            <a:t>Développement de médicaments à but non lucratif </a:t>
          </a:r>
          <a:endParaRPr lang="en-US" sz="400" dirty="0">
            <a:solidFill>
              <a:schemeClr val="bg1"/>
            </a:solidFill>
          </a:endParaRPr>
        </a:p>
      </dgm:t>
    </dgm:pt>
    <dgm:pt modelId="{6C39BAF2-94C8-4F7B-BA26-50F8AE89E2B0}" type="parTrans" cxnId="{17F2310C-FD0C-40AB-ADAE-AF30F38F0EB0}">
      <dgm:prSet/>
      <dgm:spPr/>
      <dgm:t>
        <a:bodyPr/>
        <a:lstStyle/>
        <a:p>
          <a:endParaRPr lang="en-US" sz="400"/>
        </a:p>
      </dgm:t>
    </dgm:pt>
    <dgm:pt modelId="{F8DFC676-622F-4EEC-92F0-36435555F987}" type="sibTrans" cxnId="{17F2310C-FD0C-40AB-ADAE-AF30F38F0EB0}">
      <dgm:prSet/>
      <dgm:spPr/>
      <dgm:t>
        <a:bodyPr/>
        <a:lstStyle/>
        <a:p>
          <a:endParaRPr lang="en-US" sz="400"/>
        </a:p>
      </dgm:t>
    </dgm:pt>
    <dgm:pt modelId="{0838BE74-E7FC-41AD-8E10-534F4627DDB5}">
      <dgm:prSet phldrT="[Text]" custT="1"/>
      <dgm:spPr/>
      <dgm:t>
        <a:bodyPr/>
        <a:lstStyle/>
        <a:p>
          <a:r>
            <a:rPr lang="en-CH" sz="400" dirty="0">
              <a:solidFill>
                <a:srgbClr val="C00000"/>
              </a:solidFill>
            </a:rPr>
            <a:t>Efficacité et transparence du marché</a:t>
          </a:r>
          <a:endParaRPr lang="en-US" sz="400" dirty="0">
            <a:solidFill>
              <a:srgbClr val="C00000"/>
            </a:solidFill>
          </a:endParaRPr>
        </a:p>
      </dgm:t>
    </dgm:pt>
    <dgm:pt modelId="{218926F2-0455-4E0E-8D89-F403F6DF1C00}" type="parTrans" cxnId="{15B92693-6A83-47DC-B92D-506D75E8B2A5}">
      <dgm:prSet/>
      <dgm:spPr/>
      <dgm:t>
        <a:bodyPr/>
        <a:lstStyle/>
        <a:p>
          <a:endParaRPr lang="en-US" sz="400"/>
        </a:p>
      </dgm:t>
    </dgm:pt>
    <dgm:pt modelId="{B83418C6-BE75-4A0C-9BBA-87CE796463B4}" type="sibTrans" cxnId="{15B92693-6A83-47DC-B92D-506D75E8B2A5}">
      <dgm:prSet/>
      <dgm:spPr/>
      <dgm:t>
        <a:bodyPr/>
        <a:lstStyle/>
        <a:p>
          <a:endParaRPr lang="en-US" sz="400"/>
        </a:p>
      </dgm:t>
    </dgm:pt>
    <dgm:pt modelId="{FFC7A71B-697A-4492-94D6-1C0657D288E2}" type="pres">
      <dgm:prSet presAssocID="{62E8A0CC-7B1A-472D-854D-0AEB74A368BE}" presName="compositeShape" presStyleCnt="0">
        <dgm:presLayoutVars>
          <dgm:chMax val="7"/>
          <dgm:dir/>
          <dgm:resizeHandles val="exact"/>
        </dgm:presLayoutVars>
      </dgm:prSet>
      <dgm:spPr/>
    </dgm:pt>
    <dgm:pt modelId="{07B07E17-DE47-4829-911D-88AC6D949DFA}" type="pres">
      <dgm:prSet presAssocID="{62E8A0CC-7B1A-472D-854D-0AEB74A368BE}" presName="wedge1" presStyleLbl="node1" presStyleIdx="0" presStyleCnt="4"/>
      <dgm:spPr/>
    </dgm:pt>
    <dgm:pt modelId="{EC3C5697-F58E-4D34-A47B-44E8F44E3E0C}" type="pres">
      <dgm:prSet presAssocID="{62E8A0CC-7B1A-472D-854D-0AEB74A368BE}" presName="dummy1a" presStyleCnt="0"/>
      <dgm:spPr/>
    </dgm:pt>
    <dgm:pt modelId="{3A4E0685-99D7-40C1-811B-1DCEF2BA884D}" type="pres">
      <dgm:prSet presAssocID="{62E8A0CC-7B1A-472D-854D-0AEB74A368BE}" presName="dummy1b" presStyleCnt="0"/>
      <dgm:spPr/>
    </dgm:pt>
    <dgm:pt modelId="{D1824492-FF5D-4689-A3AE-A958E49DC1CF}" type="pres">
      <dgm:prSet presAssocID="{62E8A0CC-7B1A-472D-854D-0AEB74A368BE}" presName="wedge1Tx" presStyleLbl="node1" presStyleIdx="0" presStyleCnt="4">
        <dgm:presLayoutVars>
          <dgm:chMax val="0"/>
          <dgm:chPref val="0"/>
          <dgm:bulletEnabled val="1"/>
        </dgm:presLayoutVars>
      </dgm:prSet>
      <dgm:spPr/>
    </dgm:pt>
    <dgm:pt modelId="{FD7AC0E5-D6DE-4B7A-BB62-FAA01FFD0C54}" type="pres">
      <dgm:prSet presAssocID="{62E8A0CC-7B1A-472D-854D-0AEB74A368BE}" presName="wedge2" presStyleLbl="node1" presStyleIdx="1" presStyleCnt="4"/>
      <dgm:spPr/>
    </dgm:pt>
    <dgm:pt modelId="{B8BC85C6-9508-4C0B-94AD-695C2B9EC301}" type="pres">
      <dgm:prSet presAssocID="{62E8A0CC-7B1A-472D-854D-0AEB74A368BE}" presName="dummy2a" presStyleCnt="0"/>
      <dgm:spPr/>
    </dgm:pt>
    <dgm:pt modelId="{2DD99AA2-6F48-46D9-B122-1E329741FCEF}" type="pres">
      <dgm:prSet presAssocID="{62E8A0CC-7B1A-472D-854D-0AEB74A368BE}" presName="dummy2b" presStyleCnt="0"/>
      <dgm:spPr/>
    </dgm:pt>
    <dgm:pt modelId="{88DEA717-472C-4738-B8CB-8CE01740C3A2}" type="pres">
      <dgm:prSet presAssocID="{62E8A0CC-7B1A-472D-854D-0AEB74A368BE}" presName="wedge2Tx" presStyleLbl="node1" presStyleIdx="1" presStyleCnt="4">
        <dgm:presLayoutVars>
          <dgm:chMax val="0"/>
          <dgm:chPref val="0"/>
          <dgm:bulletEnabled val="1"/>
        </dgm:presLayoutVars>
      </dgm:prSet>
      <dgm:spPr/>
    </dgm:pt>
    <dgm:pt modelId="{BA96C5E3-1886-4E34-A514-69BA765CFFD8}" type="pres">
      <dgm:prSet presAssocID="{62E8A0CC-7B1A-472D-854D-0AEB74A368BE}" presName="wedge3" presStyleLbl="node1" presStyleIdx="2" presStyleCnt="4"/>
      <dgm:spPr/>
    </dgm:pt>
    <dgm:pt modelId="{8D9530A0-CFE9-494B-8A6F-A30A32B2A90E}" type="pres">
      <dgm:prSet presAssocID="{62E8A0CC-7B1A-472D-854D-0AEB74A368BE}" presName="dummy3a" presStyleCnt="0"/>
      <dgm:spPr/>
    </dgm:pt>
    <dgm:pt modelId="{38C7D9BD-EDA7-4C19-9014-10517F2D444D}" type="pres">
      <dgm:prSet presAssocID="{62E8A0CC-7B1A-472D-854D-0AEB74A368BE}" presName="dummy3b" presStyleCnt="0"/>
      <dgm:spPr/>
    </dgm:pt>
    <dgm:pt modelId="{22436A4C-B7C9-4B50-AA70-FAA768A67624}" type="pres">
      <dgm:prSet presAssocID="{62E8A0CC-7B1A-472D-854D-0AEB74A368BE}" presName="wedge3Tx" presStyleLbl="node1" presStyleIdx="2" presStyleCnt="4">
        <dgm:presLayoutVars>
          <dgm:chMax val="0"/>
          <dgm:chPref val="0"/>
          <dgm:bulletEnabled val="1"/>
        </dgm:presLayoutVars>
      </dgm:prSet>
      <dgm:spPr/>
    </dgm:pt>
    <dgm:pt modelId="{89A4B5C7-CBFD-4DCB-8093-541A2C7FB3AD}" type="pres">
      <dgm:prSet presAssocID="{62E8A0CC-7B1A-472D-854D-0AEB74A368BE}" presName="wedge4" presStyleLbl="node1" presStyleIdx="3" presStyleCnt="4"/>
      <dgm:spPr/>
    </dgm:pt>
    <dgm:pt modelId="{E5153C49-CC49-4A17-8DBA-3D5A1C4E82AD}" type="pres">
      <dgm:prSet presAssocID="{62E8A0CC-7B1A-472D-854D-0AEB74A368BE}" presName="dummy4a" presStyleCnt="0"/>
      <dgm:spPr/>
    </dgm:pt>
    <dgm:pt modelId="{79D861D1-C2C4-45C2-AE51-A216A4749A99}" type="pres">
      <dgm:prSet presAssocID="{62E8A0CC-7B1A-472D-854D-0AEB74A368BE}" presName="dummy4b" presStyleCnt="0"/>
      <dgm:spPr/>
    </dgm:pt>
    <dgm:pt modelId="{66CBC6BE-F40C-4613-B83C-ED250A9F25CB}" type="pres">
      <dgm:prSet presAssocID="{62E8A0CC-7B1A-472D-854D-0AEB74A368BE}" presName="wedge4Tx" presStyleLbl="node1" presStyleIdx="3" presStyleCnt="4">
        <dgm:presLayoutVars>
          <dgm:chMax val="0"/>
          <dgm:chPref val="0"/>
          <dgm:bulletEnabled val="1"/>
        </dgm:presLayoutVars>
      </dgm:prSet>
      <dgm:spPr/>
    </dgm:pt>
    <dgm:pt modelId="{7FB20AC5-19F6-4C40-B06E-B91AADD343EB}" type="pres">
      <dgm:prSet presAssocID="{D37C55AA-E1FA-4269-A324-5E6F6427541B}" presName="arrowWedge1" presStyleLbl="fgSibTrans2D1" presStyleIdx="0" presStyleCnt="4"/>
      <dgm:spPr/>
    </dgm:pt>
    <dgm:pt modelId="{F27FA0E3-C2F7-44C4-8638-14D8DA938170}" type="pres">
      <dgm:prSet presAssocID="{B83418C6-BE75-4A0C-9BBA-87CE796463B4}" presName="arrowWedge2" presStyleLbl="fgSibTrans2D1" presStyleIdx="1" presStyleCnt="4"/>
      <dgm:spPr/>
    </dgm:pt>
    <dgm:pt modelId="{42381FB1-FC83-4305-B481-7D2A47FA5F8A}" type="pres">
      <dgm:prSet presAssocID="{4E1FAC4A-B33F-48FA-9993-1A12A5769C10}" presName="arrowWedge3" presStyleLbl="fgSibTrans2D1" presStyleIdx="2" presStyleCnt="4"/>
      <dgm:spPr/>
    </dgm:pt>
    <dgm:pt modelId="{2B9CB229-072F-4692-82DD-680D0660D823}" type="pres">
      <dgm:prSet presAssocID="{F8DFC676-622F-4EEC-92F0-36435555F987}" presName="arrowWedge4" presStyleLbl="fgSibTrans2D1" presStyleIdx="3" presStyleCnt="4"/>
      <dgm:spPr/>
    </dgm:pt>
  </dgm:ptLst>
  <dgm:cxnLst>
    <dgm:cxn modelId="{BDBEAA00-D20C-482A-80DD-A7E3E5F6BF19}" type="presOf" srcId="{15848EBA-493F-4766-974B-676C27BFE3D9}" destId="{66CBC6BE-F40C-4613-B83C-ED250A9F25CB}" srcOrd="1" destOrd="0" presId="urn:microsoft.com/office/officeart/2005/8/layout/cycle8"/>
    <dgm:cxn modelId="{3D970202-D8BA-4EA5-94B7-12A19B3D14CA}" type="presOf" srcId="{8BA3BFB4-F268-4A45-95DB-94ADDE23522E}" destId="{D1824492-FF5D-4689-A3AE-A958E49DC1CF}" srcOrd="1" destOrd="0" presId="urn:microsoft.com/office/officeart/2005/8/layout/cycle8"/>
    <dgm:cxn modelId="{17F2310C-FD0C-40AB-ADAE-AF30F38F0EB0}" srcId="{62E8A0CC-7B1A-472D-854D-0AEB74A368BE}" destId="{15848EBA-493F-4766-974B-676C27BFE3D9}" srcOrd="3" destOrd="0" parTransId="{6C39BAF2-94C8-4F7B-BA26-50F8AE89E2B0}" sibTransId="{F8DFC676-622F-4EEC-92F0-36435555F987}"/>
    <dgm:cxn modelId="{11896810-30BA-4DFD-A369-4590327FB751}" srcId="{62E8A0CC-7B1A-472D-854D-0AEB74A368BE}" destId="{8BA3BFB4-F268-4A45-95DB-94ADDE23522E}" srcOrd="0" destOrd="0" parTransId="{C3DC2BC3-66DA-4ACA-B077-0043B7BEE5D7}" sibTransId="{D37C55AA-E1FA-4269-A324-5E6F6427541B}"/>
    <dgm:cxn modelId="{B2AFEC60-9445-4A03-85D3-19C286EE8D0C}" srcId="{62E8A0CC-7B1A-472D-854D-0AEB74A368BE}" destId="{430BCA2E-FE17-4CC6-B3E6-7F4D25738751}" srcOrd="2" destOrd="0" parTransId="{A3453F60-3733-4320-A04B-77BDF9E75AFC}" sibTransId="{4E1FAC4A-B33F-48FA-9993-1A12A5769C10}"/>
    <dgm:cxn modelId="{8EBBBA47-0EB4-4DE2-A5D2-9E6A4246DEC9}" type="presOf" srcId="{430BCA2E-FE17-4CC6-B3E6-7F4D25738751}" destId="{22436A4C-B7C9-4B50-AA70-FAA768A67624}" srcOrd="1" destOrd="0" presId="urn:microsoft.com/office/officeart/2005/8/layout/cycle8"/>
    <dgm:cxn modelId="{8C8BAB71-27A1-4F6E-A504-D250AF1DCA08}" type="presOf" srcId="{0838BE74-E7FC-41AD-8E10-534F4627DDB5}" destId="{88DEA717-472C-4738-B8CB-8CE01740C3A2}" srcOrd="1" destOrd="0" presId="urn:microsoft.com/office/officeart/2005/8/layout/cycle8"/>
    <dgm:cxn modelId="{15B92693-6A83-47DC-B92D-506D75E8B2A5}" srcId="{62E8A0CC-7B1A-472D-854D-0AEB74A368BE}" destId="{0838BE74-E7FC-41AD-8E10-534F4627DDB5}" srcOrd="1" destOrd="0" parTransId="{218926F2-0455-4E0E-8D89-F403F6DF1C00}" sibTransId="{B83418C6-BE75-4A0C-9BBA-87CE796463B4}"/>
    <dgm:cxn modelId="{52990594-70ED-4C3D-B6ED-E9E2AE50F580}" type="presOf" srcId="{62E8A0CC-7B1A-472D-854D-0AEB74A368BE}" destId="{FFC7A71B-697A-4492-94D6-1C0657D288E2}" srcOrd="0" destOrd="0" presId="urn:microsoft.com/office/officeart/2005/8/layout/cycle8"/>
    <dgm:cxn modelId="{7B13D495-8C0C-4053-9C0E-57FB07BF5EF3}" type="presOf" srcId="{430BCA2E-FE17-4CC6-B3E6-7F4D25738751}" destId="{BA96C5E3-1886-4E34-A514-69BA765CFFD8}" srcOrd="0" destOrd="0" presId="urn:microsoft.com/office/officeart/2005/8/layout/cycle8"/>
    <dgm:cxn modelId="{E0AC09CE-0AC0-43C6-93B2-B0F4FC573054}" type="presOf" srcId="{8BA3BFB4-F268-4A45-95DB-94ADDE23522E}" destId="{07B07E17-DE47-4829-911D-88AC6D949DFA}" srcOrd="0" destOrd="0" presId="urn:microsoft.com/office/officeart/2005/8/layout/cycle8"/>
    <dgm:cxn modelId="{31551AEA-2976-4BD1-932C-DEE5C6861C24}" type="presOf" srcId="{15848EBA-493F-4766-974B-676C27BFE3D9}" destId="{89A4B5C7-CBFD-4DCB-8093-541A2C7FB3AD}" srcOrd="0" destOrd="0" presId="urn:microsoft.com/office/officeart/2005/8/layout/cycle8"/>
    <dgm:cxn modelId="{E7A9A6FF-0F18-4CCB-81EB-3EC04A7E05CF}" type="presOf" srcId="{0838BE74-E7FC-41AD-8E10-534F4627DDB5}" destId="{FD7AC0E5-D6DE-4B7A-BB62-FAA01FFD0C54}" srcOrd="0" destOrd="0" presId="urn:microsoft.com/office/officeart/2005/8/layout/cycle8"/>
    <dgm:cxn modelId="{38C51A05-A22D-403A-AC7B-B4D3EF243576}" type="presParOf" srcId="{FFC7A71B-697A-4492-94D6-1C0657D288E2}" destId="{07B07E17-DE47-4829-911D-88AC6D949DFA}" srcOrd="0" destOrd="0" presId="urn:microsoft.com/office/officeart/2005/8/layout/cycle8"/>
    <dgm:cxn modelId="{85E3C8FF-B266-482D-B5D7-E84C2A27C1C2}" type="presParOf" srcId="{FFC7A71B-697A-4492-94D6-1C0657D288E2}" destId="{EC3C5697-F58E-4D34-A47B-44E8F44E3E0C}" srcOrd="1" destOrd="0" presId="urn:microsoft.com/office/officeart/2005/8/layout/cycle8"/>
    <dgm:cxn modelId="{40D02756-BE8B-472B-ACE9-C9F927356B4B}" type="presParOf" srcId="{FFC7A71B-697A-4492-94D6-1C0657D288E2}" destId="{3A4E0685-99D7-40C1-811B-1DCEF2BA884D}" srcOrd="2" destOrd="0" presId="urn:microsoft.com/office/officeart/2005/8/layout/cycle8"/>
    <dgm:cxn modelId="{0D0DD023-9EBA-4F9B-97C7-CE0C74519EB1}" type="presParOf" srcId="{FFC7A71B-697A-4492-94D6-1C0657D288E2}" destId="{D1824492-FF5D-4689-A3AE-A958E49DC1CF}" srcOrd="3" destOrd="0" presId="urn:microsoft.com/office/officeart/2005/8/layout/cycle8"/>
    <dgm:cxn modelId="{73C82753-464A-4959-BC42-05225150A5F9}" type="presParOf" srcId="{FFC7A71B-697A-4492-94D6-1C0657D288E2}" destId="{FD7AC0E5-D6DE-4B7A-BB62-FAA01FFD0C54}" srcOrd="4" destOrd="0" presId="urn:microsoft.com/office/officeart/2005/8/layout/cycle8"/>
    <dgm:cxn modelId="{17DB2C95-6B89-419C-AA98-DB0118EAEF63}" type="presParOf" srcId="{FFC7A71B-697A-4492-94D6-1C0657D288E2}" destId="{B8BC85C6-9508-4C0B-94AD-695C2B9EC301}" srcOrd="5" destOrd="0" presId="urn:microsoft.com/office/officeart/2005/8/layout/cycle8"/>
    <dgm:cxn modelId="{95F0C3EE-A21D-466A-A3BB-54765853A7BA}" type="presParOf" srcId="{FFC7A71B-697A-4492-94D6-1C0657D288E2}" destId="{2DD99AA2-6F48-46D9-B122-1E329741FCEF}" srcOrd="6" destOrd="0" presId="urn:microsoft.com/office/officeart/2005/8/layout/cycle8"/>
    <dgm:cxn modelId="{B674141B-41E2-412C-92B2-11BF34F8479C}" type="presParOf" srcId="{FFC7A71B-697A-4492-94D6-1C0657D288E2}" destId="{88DEA717-472C-4738-B8CB-8CE01740C3A2}" srcOrd="7" destOrd="0" presId="urn:microsoft.com/office/officeart/2005/8/layout/cycle8"/>
    <dgm:cxn modelId="{530B1AE6-A7FA-47D7-87B4-06EE95663D80}" type="presParOf" srcId="{FFC7A71B-697A-4492-94D6-1C0657D288E2}" destId="{BA96C5E3-1886-4E34-A514-69BA765CFFD8}" srcOrd="8" destOrd="0" presId="urn:microsoft.com/office/officeart/2005/8/layout/cycle8"/>
    <dgm:cxn modelId="{90360636-5341-4353-9A65-40A07FCC97B1}" type="presParOf" srcId="{FFC7A71B-697A-4492-94D6-1C0657D288E2}" destId="{8D9530A0-CFE9-494B-8A6F-A30A32B2A90E}" srcOrd="9" destOrd="0" presId="urn:microsoft.com/office/officeart/2005/8/layout/cycle8"/>
    <dgm:cxn modelId="{2EE735BB-580C-49A4-AA65-1FD7036D1058}" type="presParOf" srcId="{FFC7A71B-697A-4492-94D6-1C0657D288E2}" destId="{38C7D9BD-EDA7-4C19-9014-10517F2D444D}" srcOrd="10" destOrd="0" presId="urn:microsoft.com/office/officeart/2005/8/layout/cycle8"/>
    <dgm:cxn modelId="{D8DB6044-FD10-46B3-B89F-933BE7CDDD86}" type="presParOf" srcId="{FFC7A71B-697A-4492-94D6-1C0657D288E2}" destId="{22436A4C-B7C9-4B50-AA70-FAA768A67624}" srcOrd="11" destOrd="0" presId="urn:microsoft.com/office/officeart/2005/8/layout/cycle8"/>
    <dgm:cxn modelId="{9F56C84D-4DAC-400C-A036-8498A86FE24D}" type="presParOf" srcId="{FFC7A71B-697A-4492-94D6-1C0657D288E2}" destId="{89A4B5C7-CBFD-4DCB-8093-541A2C7FB3AD}" srcOrd="12" destOrd="0" presId="urn:microsoft.com/office/officeart/2005/8/layout/cycle8"/>
    <dgm:cxn modelId="{131226BD-3D71-413A-9ECE-DE4C3787F8DE}" type="presParOf" srcId="{FFC7A71B-697A-4492-94D6-1C0657D288E2}" destId="{E5153C49-CC49-4A17-8DBA-3D5A1C4E82AD}" srcOrd="13" destOrd="0" presId="urn:microsoft.com/office/officeart/2005/8/layout/cycle8"/>
    <dgm:cxn modelId="{1FADD572-3827-4AD7-964D-BF7342C29870}" type="presParOf" srcId="{FFC7A71B-697A-4492-94D6-1C0657D288E2}" destId="{79D861D1-C2C4-45C2-AE51-A216A4749A99}" srcOrd="14" destOrd="0" presId="urn:microsoft.com/office/officeart/2005/8/layout/cycle8"/>
    <dgm:cxn modelId="{721C5DA0-7DD2-4453-BBC2-48570966A896}" type="presParOf" srcId="{FFC7A71B-697A-4492-94D6-1C0657D288E2}" destId="{66CBC6BE-F40C-4613-B83C-ED250A9F25CB}" srcOrd="15" destOrd="0" presId="urn:microsoft.com/office/officeart/2005/8/layout/cycle8"/>
    <dgm:cxn modelId="{59C49D42-470D-4D76-97EA-0FC4031E4214}" type="presParOf" srcId="{FFC7A71B-697A-4492-94D6-1C0657D288E2}" destId="{7FB20AC5-19F6-4C40-B06E-B91AADD343EB}" srcOrd="16" destOrd="0" presId="urn:microsoft.com/office/officeart/2005/8/layout/cycle8"/>
    <dgm:cxn modelId="{67B925F2-F511-481D-A306-DEC426B15279}" type="presParOf" srcId="{FFC7A71B-697A-4492-94D6-1C0657D288E2}" destId="{F27FA0E3-C2F7-44C4-8638-14D8DA938170}" srcOrd="17" destOrd="0" presId="urn:microsoft.com/office/officeart/2005/8/layout/cycle8"/>
    <dgm:cxn modelId="{6A37D59F-95AC-4BD5-A379-CAD28050B2AF}" type="presParOf" srcId="{FFC7A71B-697A-4492-94D6-1C0657D288E2}" destId="{42381FB1-FC83-4305-B481-7D2A47FA5F8A}" srcOrd="18" destOrd="0" presId="urn:microsoft.com/office/officeart/2005/8/layout/cycle8"/>
    <dgm:cxn modelId="{C2917D63-110B-48F0-A092-7E1CF38FFC87}" type="presParOf" srcId="{FFC7A71B-697A-4492-94D6-1C0657D288E2}" destId="{2B9CB229-072F-4692-82DD-680D0660D823}"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8261178-025D-4406-A433-513CFC37C81F}"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65AC887D-A14A-4BC5-A807-CDEB004D49B5}">
      <dgm:prSet phldrT="[Text]"/>
      <dgm:spPr/>
      <dgm:t>
        <a:bodyPr/>
        <a:lstStyle/>
        <a:p>
          <a:r>
            <a:rPr lang="en-US"/>
            <a:t>Achat éclairé</a:t>
          </a:r>
        </a:p>
      </dgm:t>
    </dgm:pt>
    <dgm:pt modelId="{9C35AE05-1C6C-4139-A0BA-AFD324167BF6}" type="parTrans" cxnId="{32C80557-46C5-41D7-8714-7A9894414BEA}">
      <dgm:prSet/>
      <dgm:spPr/>
      <dgm:t>
        <a:bodyPr/>
        <a:lstStyle/>
        <a:p>
          <a:endParaRPr lang="en-US"/>
        </a:p>
      </dgm:t>
    </dgm:pt>
    <dgm:pt modelId="{F2076CCD-7518-4A2C-A510-D044B9192D91}" type="sibTrans" cxnId="{32C80557-46C5-41D7-8714-7A9894414BEA}">
      <dgm:prSet/>
      <dgm:spPr/>
      <dgm:t>
        <a:bodyPr/>
        <a:lstStyle/>
        <a:p>
          <a:endParaRPr lang="en-US"/>
        </a:p>
      </dgm:t>
    </dgm:pt>
    <dgm:pt modelId="{2D1087DD-9101-467B-80A7-C891AE43406C}">
      <dgm:prSet phldrT="[Text]"/>
      <dgm:spPr/>
      <dgm:t>
        <a:bodyPr/>
        <a:lstStyle/>
        <a:p>
          <a:r>
            <a:rPr lang="en-US"/>
            <a:t>Achats éclairés coordonnés</a:t>
          </a:r>
        </a:p>
      </dgm:t>
    </dgm:pt>
    <dgm:pt modelId="{883DFE96-E311-429F-AB64-78A8911C1D14}" type="parTrans" cxnId="{22505DFA-54C0-449F-B713-05FF9A852875}">
      <dgm:prSet/>
      <dgm:spPr/>
      <dgm:t>
        <a:bodyPr/>
        <a:lstStyle/>
        <a:p>
          <a:endParaRPr lang="en-US"/>
        </a:p>
      </dgm:t>
    </dgm:pt>
    <dgm:pt modelId="{04C1274A-7B6C-4646-B9A4-79F847708A95}" type="sibTrans" cxnId="{22505DFA-54C0-449F-B713-05FF9A852875}">
      <dgm:prSet/>
      <dgm:spPr/>
      <dgm:t>
        <a:bodyPr/>
        <a:lstStyle/>
        <a:p>
          <a:endParaRPr lang="en-US"/>
        </a:p>
      </dgm:t>
    </dgm:pt>
    <dgm:pt modelId="{FA02948E-3DFA-4735-9041-92B3FC44B638}">
      <dgm:prSet phldrT="[Text]"/>
      <dgm:spPr/>
      <dgm:t>
        <a:bodyPr/>
        <a:lstStyle/>
        <a:p>
          <a:r>
            <a:rPr lang="en-US"/>
            <a:t>Contrats collectifs</a:t>
          </a:r>
        </a:p>
      </dgm:t>
    </dgm:pt>
    <dgm:pt modelId="{5B026B79-21A7-46A2-8AF1-FEDB8735E607}" type="parTrans" cxnId="{8A6A2360-58DF-4A79-809E-3886DBF37D16}">
      <dgm:prSet/>
      <dgm:spPr/>
      <dgm:t>
        <a:bodyPr/>
        <a:lstStyle/>
        <a:p>
          <a:endParaRPr lang="en-US"/>
        </a:p>
      </dgm:t>
    </dgm:pt>
    <dgm:pt modelId="{AA29B992-E0CD-41A5-8299-F63621E4F859}" type="sibTrans" cxnId="{8A6A2360-58DF-4A79-809E-3886DBF37D16}">
      <dgm:prSet/>
      <dgm:spPr/>
      <dgm:t>
        <a:bodyPr/>
        <a:lstStyle/>
        <a:p>
          <a:endParaRPr lang="en-US"/>
        </a:p>
      </dgm:t>
    </dgm:pt>
    <dgm:pt modelId="{882DCFB1-E325-417E-94B0-40E58A9B65AC}">
      <dgm:prSet phldrT="[Text]"/>
      <dgm:spPr/>
      <dgm:t>
        <a:bodyPr/>
        <a:lstStyle/>
        <a:p>
          <a:r>
            <a:rPr lang="en-US"/>
            <a:t>Contrats et achats centralisés</a:t>
          </a:r>
        </a:p>
      </dgm:t>
    </dgm:pt>
    <dgm:pt modelId="{3975682E-83E1-461B-93A4-596ECD169F10}" type="parTrans" cxnId="{ABE4C68C-E0EA-4AEC-8DA0-707E3B3C2E31}">
      <dgm:prSet/>
      <dgm:spPr/>
      <dgm:t>
        <a:bodyPr/>
        <a:lstStyle/>
        <a:p>
          <a:endParaRPr lang="en-US"/>
        </a:p>
      </dgm:t>
    </dgm:pt>
    <dgm:pt modelId="{0959C448-D304-43E6-AAA3-E4EA8E9A0DE7}" type="sibTrans" cxnId="{ABE4C68C-E0EA-4AEC-8DA0-707E3B3C2E31}">
      <dgm:prSet/>
      <dgm:spPr/>
      <dgm:t>
        <a:bodyPr/>
        <a:lstStyle/>
        <a:p>
          <a:endParaRPr lang="en-US"/>
        </a:p>
      </dgm:t>
    </dgm:pt>
    <dgm:pt modelId="{3E0E358F-D838-45DD-8B50-B8D5A746FDE7}">
      <dgm:prSet phldrT="[Text]"/>
      <dgm:spPr/>
      <dgm:t>
        <a:bodyPr/>
        <a:lstStyle/>
        <a:p>
          <a:r>
            <a:rPr lang="en-US"/>
            <a:t>Achats groupés + distribution</a:t>
          </a:r>
        </a:p>
      </dgm:t>
    </dgm:pt>
    <dgm:pt modelId="{3C6530D8-4114-4781-AC01-8104F1A12A7B}" type="parTrans" cxnId="{2DE58CDA-5511-49FF-9A23-27B598E91705}">
      <dgm:prSet/>
      <dgm:spPr/>
      <dgm:t>
        <a:bodyPr/>
        <a:lstStyle/>
        <a:p>
          <a:endParaRPr lang="en-US"/>
        </a:p>
      </dgm:t>
    </dgm:pt>
    <dgm:pt modelId="{34D1E92A-0707-46EE-84F6-4354A09AB34B}" type="sibTrans" cxnId="{2DE58CDA-5511-49FF-9A23-27B598E91705}">
      <dgm:prSet/>
      <dgm:spPr/>
      <dgm:t>
        <a:bodyPr/>
        <a:lstStyle/>
        <a:p>
          <a:endParaRPr lang="en-US"/>
        </a:p>
      </dgm:t>
    </dgm:pt>
    <dgm:pt modelId="{8300D8B7-1B35-4406-94CE-F409E7F7337B}" type="pres">
      <dgm:prSet presAssocID="{08261178-025D-4406-A433-513CFC37C81F}" presName="rootnode" presStyleCnt="0">
        <dgm:presLayoutVars>
          <dgm:chMax/>
          <dgm:chPref/>
          <dgm:dir/>
          <dgm:animLvl val="lvl"/>
        </dgm:presLayoutVars>
      </dgm:prSet>
      <dgm:spPr/>
    </dgm:pt>
    <dgm:pt modelId="{C70A8BAE-6391-4FC8-81A9-BC09C043B0B7}" type="pres">
      <dgm:prSet presAssocID="{65AC887D-A14A-4BC5-A807-CDEB004D49B5}" presName="composite" presStyleCnt="0"/>
      <dgm:spPr/>
    </dgm:pt>
    <dgm:pt modelId="{EE73E7E9-505B-464E-A291-AC449D223E23}" type="pres">
      <dgm:prSet presAssocID="{65AC887D-A14A-4BC5-A807-CDEB004D49B5}" presName="LShape" presStyleLbl="alignNode1" presStyleIdx="0" presStyleCnt="9"/>
      <dgm:spPr/>
    </dgm:pt>
    <dgm:pt modelId="{3F7C182F-9F0F-4AA3-86E4-1552B7734B57}" type="pres">
      <dgm:prSet presAssocID="{65AC887D-A14A-4BC5-A807-CDEB004D49B5}" presName="ParentText" presStyleLbl="revTx" presStyleIdx="0" presStyleCnt="5">
        <dgm:presLayoutVars>
          <dgm:chMax val="0"/>
          <dgm:chPref val="0"/>
          <dgm:bulletEnabled val="1"/>
        </dgm:presLayoutVars>
      </dgm:prSet>
      <dgm:spPr/>
    </dgm:pt>
    <dgm:pt modelId="{653D46BE-A850-4954-B391-B43A1816539F}" type="pres">
      <dgm:prSet presAssocID="{65AC887D-A14A-4BC5-A807-CDEB004D49B5}" presName="Triangle" presStyleLbl="alignNode1" presStyleIdx="1" presStyleCnt="9"/>
      <dgm:spPr/>
    </dgm:pt>
    <dgm:pt modelId="{3268FD70-B566-4402-B8A2-6F6351142FCB}" type="pres">
      <dgm:prSet presAssocID="{F2076CCD-7518-4A2C-A510-D044B9192D91}" presName="sibTrans" presStyleCnt="0"/>
      <dgm:spPr/>
    </dgm:pt>
    <dgm:pt modelId="{A389DE99-45DB-4A47-B64E-E3DDACD0C755}" type="pres">
      <dgm:prSet presAssocID="{F2076CCD-7518-4A2C-A510-D044B9192D91}" presName="space" presStyleCnt="0"/>
      <dgm:spPr/>
    </dgm:pt>
    <dgm:pt modelId="{0DD26D9A-7919-4C0A-AC32-4B01F882ACE6}" type="pres">
      <dgm:prSet presAssocID="{2D1087DD-9101-467B-80A7-C891AE43406C}" presName="composite" presStyleCnt="0"/>
      <dgm:spPr/>
    </dgm:pt>
    <dgm:pt modelId="{F75B7AC8-E274-4ADB-95E3-D18F62BF1538}" type="pres">
      <dgm:prSet presAssocID="{2D1087DD-9101-467B-80A7-C891AE43406C}" presName="LShape" presStyleLbl="alignNode1" presStyleIdx="2" presStyleCnt="9"/>
      <dgm:spPr/>
    </dgm:pt>
    <dgm:pt modelId="{7EF5803B-B157-4AB7-BAE1-DFC592BFFDB8}" type="pres">
      <dgm:prSet presAssocID="{2D1087DD-9101-467B-80A7-C891AE43406C}" presName="ParentText" presStyleLbl="revTx" presStyleIdx="1" presStyleCnt="5">
        <dgm:presLayoutVars>
          <dgm:chMax val="0"/>
          <dgm:chPref val="0"/>
          <dgm:bulletEnabled val="1"/>
        </dgm:presLayoutVars>
      </dgm:prSet>
      <dgm:spPr/>
    </dgm:pt>
    <dgm:pt modelId="{3BA23936-936B-4891-A422-3DFC2A785D0A}" type="pres">
      <dgm:prSet presAssocID="{2D1087DD-9101-467B-80A7-C891AE43406C}" presName="Triangle" presStyleLbl="alignNode1" presStyleIdx="3" presStyleCnt="9"/>
      <dgm:spPr/>
    </dgm:pt>
    <dgm:pt modelId="{308E56C5-BA82-470D-A788-CAA0E9EFFDBC}" type="pres">
      <dgm:prSet presAssocID="{04C1274A-7B6C-4646-B9A4-79F847708A95}" presName="sibTrans" presStyleCnt="0"/>
      <dgm:spPr/>
    </dgm:pt>
    <dgm:pt modelId="{C1A1149E-4AD7-4707-8542-45263240CAC0}" type="pres">
      <dgm:prSet presAssocID="{04C1274A-7B6C-4646-B9A4-79F847708A95}" presName="space" presStyleCnt="0"/>
      <dgm:spPr/>
    </dgm:pt>
    <dgm:pt modelId="{5D4DEB0B-CD0D-421E-BAD5-E260C8D79EE8}" type="pres">
      <dgm:prSet presAssocID="{FA02948E-3DFA-4735-9041-92B3FC44B638}" presName="composite" presStyleCnt="0"/>
      <dgm:spPr/>
    </dgm:pt>
    <dgm:pt modelId="{7D45DFDD-68C8-4B2E-864A-B0856B5D16A8}" type="pres">
      <dgm:prSet presAssocID="{FA02948E-3DFA-4735-9041-92B3FC44B638}" presName="LShape" presStyleLbl="alignNode1" presStyleIdx="4" presStyleCnt="9"/>
      <dgm:spPr/>
    </dgm:pt>
    <dgm:pt modelId="{6A516726-8739-4273-A2F7-CE142E8AFF12}" type="pres">
      <dgm:prSet presAssocID="{FA02948E-3DFA-4735-9041-92B3FC44B638}" presName="ParentText" presStyleLbl="revTx" presStyleIdx="2" presStyleCnt="5">
        <dgm:presLayoutVars>
          <dgm:chMax val="0"/>
          <dgm:chPref val="0"/>
          <dgm:bulletEnabled val="1"/>
        </dgm:presLayoutVars>
      </dgm:prSet>
      <dgm:spPr/>
    </dgm:pt>
    <dgm:pt modelId="{7439A96C-5E70-45A1-A84F-DBB70292982A}" type="pres">
      <dgm:prSet presAssocID="{FA02948E-3DFA-4735-9041-92B3FC44B638}" presName="Triangle" presStyleLbl="alignNode1" presStyleIdx="5" presStyleCnt="9"/>
      <dgm:spPr/>
    </dgm:pt>
    <dgm:pt modelId="{697D1A1E-6298-42BF-976D-A68CE66B2719}" type="pres">
      <dgm:prSet presAssocID="{AA29B992-E0CD-41A5-8299-F63621E4F859}" presName="sibTrans" presStyleCnt="0"/>
      <dgm:spPr/>
    </dgm:pt>
    <dgm:pt modelId="{B9EF2367-BA8B-4DF6-BB67-E42B95C56694}" type="pres">
      <dgm:prSet presAssocID="{AA29B992-E0CD-41A5-8299-F63621E4F859}" presName="space" presStyleCnt="0"/>
      <dgm:spPr/>
    </dgm:pt>
    <dgm:pt modelId="{C3B4CBBE-D327-4BDC-B162-AF546DB53497}" type="pres">
      <dgm:prSet presAssocID="{882DCFB1-E325-417E-94B0-40E58A9B65AC}" presName="composite" presStyleCnt="0"/>
      <dgm:spPr/>
    </dgm:pt>
    <dgm:pt modelId="{BC543102-936C-481F-A968-D497BAEC4ACA}" type="pres">
      <dgm:prSet presAssocID="{882DCFB1-E325-417E-94B0-40E58A9B65AC}" presName="LShape" presStyleLbl="alignNode1" presStyleIdx="6" presStyleCnt="9"/>
      <dgm:spPr/>
    </dgm:pt>
    <dgm:pt modelId="{9B4D7897-4885-4F43-A84A-4431089FF6D6}" type="pres">
      <dgm:prSet presAssocID="{882DCFB1-E325-417E-94B0-40E58A9B65AC}" presName="ParentText" presStyleLbl="revTx" presStyleIdx="3" presStyleCnt="5">
        <dgm:presLayoutVars>
          <dgm:chMax val="0"/>
          <dgm:chPref val="0"/>
          <dgm:bulletEnabled val="1"/>
        </dgm:presLayoutVars>
      </dgm:prSet>
      <dgm:spPr/>
    </dgm:pt>
    <dgm:pt modelId="{86510231-5713-4E1B-A557-F2487FD49C06}" type="pres">
      <dgm:prSet presAssocID="{882DCFB1-E325-417E-94B0-40E58A9B65AC}" presName="Triangle" presStyleLbl="alignNode1" presStyleIdx="7" presStyleCnt="9"/>
      <dgm:spPr/>
    </dgm:pt>
    <dgm:pt modelId="{DECEC18A-A324-44CA-8F69-5FB18FB7C680}" type="pres">
      <dgm:prSet presAssocID="{0959C448-D304-43E6-AAA3-E4EA8E9A0DE7}" presName="sibTrans" presStyleCnt="0"/>
      <dgm:spPr/>
    </dgm:pt>
    <dgm:pt modelId="{2A5A4A7F-DE27-4D7B-AF3D-14F013392F31}" type="pres">
      <dgm:prSet presAssocID="{0959C448-D304-43E6-AAA3-E4EA8E9A0DE7}" presName="space" presStyleCnt="0"/>
      <dgm:spPr/>
    </dgm:pt>
    <dgm:pt modelId="{275D5628-17BE-42C7-A9F0-D0EB0FA6BA3B}" type="pres">
      <dgm:prSet presAssocID="{3E0E358F-D838-45DD-8B50-B8D5A746FDE7}" presName="composite" presStyleCnt="0"/>
      <dgm:spPr/>
    </dgm:pt>
    <dgm:pt modelId="{EDDF0E42-EDE5-44AD-BB43-8A5E0DB89851}" type="pres">
      <dgm:prSet presAssocID="{3E0E358F-D838-45DD-8B50-B8D5A746FDE7}" presName="LShape" presStyleLbl="alignNode1" presStyleIdx="8" presStyleCnt="9"/>
      <dgm:spPr/>
    </dgm:pt>
    <dgm:pt modelId="{45AEF4CA-0538-4A7E-B1B9-DB28A54EA34E}" type="pres">
      <dgm:prSet presAssocID="{3E0E358F-D838-45DD-8B50-B8D5A746FDE7}" presName="ParentText" presStyleLbl="revTx" presStyleIdx="4" presStyleCnt="5">
        <dgm:presLayoutVars>
          <dgm:chMax val="0"/>
          <dgm:chPref val="0"/>
          <dgm:bulletEnabled val="1"/>
        </dgm:presLayoutVars>
      </dgm:prSet>
      <dgm:spPr/>
    </dgm:pt>
  </dgm:ptLst>
  <dgm:cxnLst>
    <dgm:cxn modelId="{8A6A2360-58DF-4A79-809E-3886DBF37D16}" srcId="{08261178-025D-4406-A433-513CFC37C81F}" destId="{FA02948E-3DFA-4735-9041-92B3FC44B638}" srcOrd="2" destOrd="0" parTransId="{5B026B79-21A7-46A2-8AF1-FEDB8735E607}" sibTransId="{AA29B992-E0CD-41A5-8299-F63621E4F859}"/>
    <dgm:cxn modelId="{32C80557-46C5-41D7-8714-7A9894414BEA}" srcId="{08261178-025D-4406-A433-513CFC37C81F}" destId="{65AC887D-A14A-4BC5-A807-CDEB004D49B5}" srcOrd="0" destOrd="0" parTransId="{9C35AE05-1C6C-4139-A0BA-AFD324167BF6}" sibTransId="{F2076CCD-7518-4A2C-A510-D044B9192D91}"/>
    <dgm:cxn modelId="{1B4E887A-3B16-49BA-9BED-1733C0459C79}" type="presOf" srcId="{2D1087DD-9101-467B-80A7-C891AE43406C}" destId="{7EF5803B-B157-4AB7-BAE1-DFC592BFFDB8}" srcOrd="0" destOrd="0" presId="urn:microsoft.com/office/officeart/2009/3/layout/StepUpProcess"/>
    <dgm:cxn modelId="{ABE4C68C-E0EA-4AEC-8DA0-707E3B3C2E31}" srcId="{08261178-025D-4406-A433-513CFC37C81F}" destId="{882DCFB1-E325-417E-94B0-40E58A9B65AC}" srcOrd="3" destOrd="0" parTransId="{3975682E-83E1-461B-93A4-596ECD169F10}" sibTransId="{0959C448-D304-43E6-AAA3-E4EA8E9A0DE7}"/>
    <dgm:cxn modelId="{C280ACA9-B3A7-4B5C-AD75-E64FF88033B7}" type="presOf" srcId="{882DCFB1-E325-417E-94B0-40E58A9B65AC}" destId="{9B4D7897-4885-4F43-A84A-4431089FF6D6}" srcOrd="0" destOrd="0" presId="urn:microsoft.com/office/officeart/2009/3/layout/StepUpProcess"/>
    <dgm:cxn modelId="{69484EBB-32CC-40DE-879B-6520C156D3FA}" type="presOf" srcId="{FA02948E-3DFA-4735-9041-92B3FC44B638}" destId="{6A516726-8739-4273-A2F7-CE142E8AFF12}" srcOrd="0" destOrd="0" presId="urn:microsoft.com/office/officeart/2009/3/layout/StepUpProcess"/>
    <dgm:cxn modelId="{D34D09CB-7433-4D4B-A24E-D76C0EE5B944}" type="presOf" srcId="{08261178-025D-4406-A433-513CFC37C81F}" destId="{8300D8B7-1B35-4406-94CE-F409E7F7337B}" srcOrd="0" destOrd="0" presId="urn:microsoft.com/office/officeart/2009/3/layout/StepUpProcess"/>
    <dgm:cxn modelId="{2DE58CDA-5511-49FF-9A23-27B598E91705}" srcId="{08261178-025D-4406-A433-513CFC37C81F}" destId="{3E0E358F-D838-45DD-8B50-B8D5A746FDE7}" srcOrd="4" destOrd="0" parTransId="{3C6530D8-4114-4781-AC01-8104F1A12A7B}" sibTransId="{34D1E92A-0707-46EE-84F6-4354A09AB34B}"/>
    <dgm:cxn modelId="{962A9EF8-2399-4EF9-B658-58D95E433BDC}" type="presOf" srcId="{65AC887D-A14A-4BC5-A807-CDEB004D49B5}" destId="{3F7C182F-9F0F-4AA3-86E4-1552B7734B57}" srcOrd="0" destOrd="0" presId="urn:microsoft.com/office/officeart/2009/3/layout/StepUpProcess"/>
    <dgm:cxn modelId="{22505DFA-54C0-449F-B713-05FF9A852875}" srcId="{08261178-025D-4406-A433-513CFC37C81F}" destId="{2D1087DD-9101-467B-80A7-C891AE43406C}" srcOrd="1" destOrd="0" parTransId="{883DFE96-E311-429F-AB64-78A8911C1D14}" sibTransId="{04C1274A-7B6C-4646-B9A4-79F847708A95}"/>
    <dgm:cxn modelId="{308BF0FD-B247-49A1-B733-CDC49E971D94}" type="presOf" srcId="{3E0E358F-D838-45DD-8B50-B8D5A746FDE7}" destId="{45AEF4CA-0538-4A7E-B1B9-DB28A54EA34E}" srcOrd="0" destOrd="0" presId="urn:microsoft.com/office/officeart/2009/3/layout/StepUpProcess"/>
    <dgm:cxn modelId="{96955FA5-45E4-4455-ACC1-765AB43D8DD0}" type="presParOf" srcId="{8300D8B7-1B35-4406-94CE-F409E7F7337B}" destId="{C70A8BAE-6391-4FC8-81A9-BC09C043B0B7}" srcOrd="0" destOrd="0" presId="urn:microsoft.com/office/officeart/2009/3/layout/StepUpProcess"/>
    <dgm:cxn modelId="{E53D7571-8E35-44DA-9AA0-709EFB94724B}" type="presParOf" srcId="{C70A8BAE-6391-4FC8-81A9-BC09C043B0B7}" destId="{EE73E7E9-505B-464E-A291-AC449D223E23}" srcOrd="0" destOrd="0" presId="urn:microsoft.com/office/officeart/2009/3/layout/StepUpProcess"/>
    <dgm:cxn modelId="{8C62E593-59F0-46CE-845F-6C799BEE495B}" type="presParOf" srcId="{C70A8BAE-6391-4FC8-81A9-BC09C043B0B7}" destId="{3F7C182F-9F0F-4AA3-86E4-1552B7734B57}" srcOrd="1" destOrd="0" presId="urn:microsoft.com/office/officeart/2009/3/layout/StepUpProcess"/>
    <dgm:cxn modelId="{4ECB57A2-0FFD-4D72-890F-1A6F8B91A78A}" type="presParOf" srcId="{C70A8BAE-6391-4FC8-81A9-BC09C043B0B7}" destId="{653D46BE-A850-4954-B391-B43A1816539F}" srcOrd="2" destOrd="0" presId="urn:microsoft.com/office/officeart/2009/3/layout/StepUpProcess"/>
    <dgm:cxn modelId="{5B845904-D92A-4C78-BA88-0DA78053E09A}" type="presParOf" srcId="{8300D8B7-1B35-4406-94CE-F409E7F7337B}" destId="{3268FD70-B566-4402-B8A2-6F6351142FCB}" srcOrd="1" destOrd="0" presId="urn:microsoft.com/office/officeart/2009/3/layout/StepUpProcess"/>
    <dgm:cxn modelId="{7C9C4A65-4E52-4F59-927F-120671C96532}" type="presParOf" srcId="{3268FD70-B566-4402-B8A2-6F6351142FCB}" destId="{A389DE99-45DB-4A47-B64E-E3DDACD0C755}" srcOrd="0" destOrd="0" presId="urn:microsoft.com/office/officeart/2009/3/layout/StepUpProcess"/>
    <dgm:cxn modelId="{D14D2561-5C32-44BD-94B0-1A9B6506945A}" type="presParOf" srcId="{8300D8B7-1B35-4406-94CE-F409E7F7337B}" destId="{0DD26D9A-7919-4C0A-AC32-4B01F882ACE6}" srcOrd="2" destOrd="0" presId="urn:microsoft.com/office/officeart/2009/3/layout/StepUpProcess"/>
    <dgm:cxn modelId="{9D1F115F-6589-46DE-8EBE-79EAEA7608B9}" type="presParOf" srcId="{0DD26D9A-7919-4C0A-AC32-4B01F882ACE6}" destId="{F75B7AC8-E274-4ADB-95E3-D18F62BF1538}" srcOrd="0" destOrd="0" presId="urn:microsoft.com/office/officeart/2009/3/layout/StepUpProcess"/>
    <dgm:cxn modelId="{527BFB86-5FB0-4939-B240-BBD382F6973B}" type="presParOf" srcId="{0DD26D9A-7919-4C0A-AC32-4B01F882ACE6}" destId="{7EF5803B-B157-4AB7-BAE1-DFC592BFFDB8}" srcOrd="1" destOrd="0" presId="urn:microsoft.com/office/officeart/2009/3/layout/StepUpProcess"/>
    <dgm:cxn modelId="{FA19A338-93B7-4CEB-A39E-7B7087F6AA95}" type="presParOf" srcId="{0DD26D9A-7919-4C0A-AC32-4B01F882ACE6}" destId="{3BA23936-936B-4891-A422-3DFC2A785D0A}" srcOrd="2" destOrd="0" presId="urn:microsoft.com/office/officeart/2009/3/layout/StepUpProcess"/>
    <dgm:cxn modelId="{099A0C26-A832-4653-8E7C-5D93CA1BE681}" type="presParOf" srcId="{8300D8B7-1B35-4406-94CE-F409E7F7337B}" destId="{308E56C5-BA82-470D-A788-CAA0E9EFFDBC}" srcOrd="3" destOrd="0" presId="urn:microsoft.com/office/officeart/2009/3/layout/StepUpProcess"/>
    <dgm:cxn modelId="{F7FE6E3E-B4AD-4ADC-9E36-BB63D1B4AD42}" type="presParOf" srcId="{308E56C5-BA82-470D-A788-CAA0E9EFFDBC}" destId="{C1A1149E-4AD7-4707-8542-45263240CAC0}" srcOrd="0" destOrd="0" presId="urn:microsoft.com/office/officeart/2009/3/layout/StepUpProcess"/>
    <dgm:cxn modelId="{F549C7D6-B513-4947-B7B4-299B474C3F82}" type="presParOf" srcId="{8300D8B7-1B35-4406-94CE-F409E7F7337B}" destId="{5D4DEB0B-CD0D-421E-BAD5-E260C8D79EE8}" srcOrd="4" destOrd="0" presId="urn:microsoft.com/office/officeart/2009/3/layout/StepUpProcess"/>
    <dgm:cxn modelId="{6764B0F0-5F9D-46BB-A84F-39549EA88AEE}" type="presParOf" srcId="{5D4DEB0B-CD0D-421E-BAD5-E260C8D79EE8}" destId="{7D45DFDD-68C8-4B2E-864A-B0856B5D16A8}" srcOrd="0" destOrd="0" presId="urn:microsoft.com/office/officeart/2009/3/layout/StepUpProcess"/>
    <dgm:cxn modelId="{C4AA3602-0153-4B7D-A477-B877F4F1B230}" type="presParOf" srcId="{5D4DEB0B-CD0D-421E-BAD5-E260C8D79EE8}" destId="{6A516726-8739-4273-A2F7-CE142E8AFF12}" srcOrd="1" destOrd="0" presId="urn:microsoft.com/office/officeart/2009/3/layout/StepUpProcess"/>
    <dgm:cxn modelId="{9DCA7E3A-0665-486E-B454-840C9F93B023}" type="presParOf" srcId="{5D4DEB0B-CD0D-421E-BAD5-E260C8D79EE8}" destId="{7439A96C-5E70-45A1-A84F-DBB70292982A}" srcOrd="2" destOrd="0" presId="urn:microsoft.com/office/officeart/2009/3/layout/StepUpProcess"/>
    <dgm:cxn modelId="{C58489D6-3AC1-4AB2-81E6-DA7F7CA01A30}" type="presParOf" srcId="{8300D8B7-1B35-4406-94CE-F409E7F7337B}" destId="{697D1A1E-6298-42BF-976D-A68CE66B2719}" srcOrd="5" destOrd="0" presId="urn:microsoft.com/office/officeart/2009/3/layout/StepUpProcess"/>
    <dgm:cxn modelId="{AF30892A-2620-483F-8ECA-6391F343D6C9}" type="presParOf" srcId="{697D1A1E-6298-42BF-976D-A68CE66B2719}" destId="{B9EF2367-BA8B-4DF6-BB67-E42B95C56694}" srcOrd="0" destOrd="0" presId="urn:microsoft.com/office/officeart/2009/3/layout/StepUpProcess"/>
    <dgm:cxn modelId="{12FA2F44-A475-4143-A8C3-FE8DFC38BCBD}" type="presParOf" srcId="{8300D8B7-1B35-4406-94CE-F409E7F7337B}" destId="{C3B4CBBE-D327-4BDC-B162-AF546DB53497}" srcOrd="6" destOrd="0" presId="urn:microsoft.com/office/officeart/2009/3/layout/StepUpProcess"/>
    <dgm:cxn modelId="{FC24CDAD-2401-4623-985E-9C7784B1E34C}" type="presParOf" srcId="{C3B4CBBE-D327-4BDC-B162-AF546DB53497}" destId="{BC543102-936C-481F-A968-D497BAEC4ACA}" srcOrd="0" destOrd="0" presId="urn:microsoft.com/office/officeart/2009/3/layout/StepUpProcess"/>
    <dgm:cxn modelId="{886D6520-5E69-4BEE-914B-71E7E784E240}" type="presParOf" srcId="{C3B4CBBE-D327-4BDC-B162-AF546DB53497}" destId="{9B4D7897-4885-4F43-A84A-4431089FF6D6}" srcOrd="1" destOrd="0" presId="urn:microsoft.com/office/officeart/2009/3/layout/StepUpProcess"/>
    <dgm:cxn modelId="{6233917A-D37F-4F07-8258-4DE24FC5B9E8}" type="presParOf" srcId="{C3B4CBBE-D327-4BDC-B162-AF546DB53497}" destId="{86510231-5713-4E1B-A557-F2487FD49C06}" srcOrd="2" destOrd="0" presId="urn:microsoft.com/office/officeart/2009/3/layout/StepUpProcess"/>
    <dgm:cxn modelId="{29DAC927-D0F6-482C-9AEA-D0869E8CE289}" type="presParOf" srcId="{8300D8B7-1B35-4406-94CE-F409E7F7337B}" destId="{DECEC18A-A324-44CA-8F69-5FB18FB7C680}" srcOrd="7" destOrd="0" presId="urn:microsoft.com/office/officeart/2009/3/layout/StepUpProcess"/>
    <dgm:cxn modelId="{7C85250E-5479-4D1D-A149-829D1B00D39B}" type="presParOf" srcId="{DECEC18A-A324-44CA-8F69-5FB18FB7C680}" destId="{2A5A4A7F-DE27-4D7B-AF3D-14F013392F31}" srcOrd="0" destOrd="0" presId="urn:microsoft.com/office/officeart/2009/3/layout/StepUpProcess"/>
    <dgm:cxn modelId="{042B43BB-C43B-40FC-AD96-9745D2718DDF}" type="presParOf" srcId="{8300D8B7-1B35-4406-94CE-F409E7F7337B}" destId="{275D5628-17BE-42C7-A9F0-D0EB0FA6BA3B}" srcOrd="8" destOrd="0" presId="urn:microsoft.com/office/officeart/2009/3/layout/StepUpProcess"/>
    <dgm:cxn modelId="{9DED0706-1181-4290-BD0E-064CD6870551}" type="presParOf" srcId="{275D5628-17BE-42C7-A9F0-D0EB0FA6BA3B}" destId="{EDDF0E42-EDE5-44AD-BB43-8A5E0DB89851}" srcOrd="0" destOrd="0" presId="urn:microsoft.com/office/officeart/2009/3/layout/StepUpProcess"/>
    <dgm:cxn modelId="{F491D364-2FA6-4F88-BE12-9BF5DE90C7E3}" type="presParOf" srcId="{275D5628-17BE-42C7-A9F0-D0EB0FA6BA3B}" destId="{45AEF4CA-0538-4A7E-B1B9-DB28A54EA34E}" srcOrd="1" destOrd="0" presId="urn:microsoft.com/office/officeart/2009/3/layout/StepUpProcess"/>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2E8A0CC-7B1A-472D-854D-0AEB74A368BE}" type="doc">
      <dgm:prSet loTypeId="urn:microsoft.com/office/officeart/2005/8/layout/cycle8" loCatId="cycle" qsTypeId="urn:microsoft.com/office/officeart/2005/8/quickstyle/simple1" qsCatId="simple" csTypeId="urn:microsoft.com/office/officeart/2005/8/colors/accent3_3" csCatId="accent3" phldr="1"/>
      <dgm:spPr/>
    </dgm:pt>
    <dgm:pt modelId="{8BA3BFB4-F268-4A45-95DB-94ADDE23522E}">
      <dgm:prSet phldrT="[Text]" custT="1"/>
      <dgm:spPr/>
      <dgm:t>
        <a:bodyPr/>
        <a:lstStyle/>
        <a:p>
          <a:r>
            <a:rPr lang="en-CH" sz="400" dirty="0"/>
            <a:t>Optimisation des antibiotiques et adoption massive</a:t>
          </a:r>
          <a:endParaRPr lang="en-US" sz="400" dirty="0"/>
        </a:p>
      </dgm:t>
    </dgm:pt>
    <dgm:pt modelId="{C3DC2BC3-66DA-4ACA-B077-0043B7BEE5D7}" type="parTrans" cxnId="{11896810-30BA-4DFD-A369-4590327FB751}">
      <dgm:prSet/>
      <dgm:spPr/>
      <dgm:t>
        <a:bodyPr/>
        <a:lstStyle/>
        <a:p>
          <a:endParaRPr lang="en-US" sz="400"/>
        </a:p>
      </dgm:t>
    </dgm:pt>
    <dgm:pt modelId="{D37C55AA-E1FA-4269-A324-5E6F6427541B}" type="sibTrans" cxnId="{11896810-30BA-4DFD-A369-4590327FB751}">
      <dgm:prSet/>
      <dgm:spPr/>
      <dgm:t>
        <a:bodyPr/>
        <a:lstStyle/>
        <a:p>
          <a:endParaRPr lang="en-US" sz="400"/>
        </a:p>
      </dgm:t>
    </dgm:pt>
    <dgm:pt modelId="{430BCA2E-FE17-4CC6-B3E6-7F4D25738751}">
      <dgm:prSet phldrT="[Text]" custT="1"/>
      <dgm:spPr/>
      <dgm:t>
        <a:bodyPr/>
        <a:lstStyle/>
        <a:p>
          <a:r>
            <a:rPr lang="en-CH" sz="400" dirty="0">
              <a:solidFill>
                <a:schemeClr val="bg1"/>
              </a:solidFill>
            </a:rPr>
            <a:t>Licences pour la fabrication et l'accès</a:t>
          </a:r>
          <a:endParaRPr lang="en-US" sz="400" dirty="0">
            <a:solidFill>
              <a:schemeClr val="bg1"/>
            </a:solidFill>
          </a:endParaRPr>
        </a:p>
      </dgm:t>
    </dgm:pt>
    <dgm:pt modelId="{A3453F60-3733-4320-A04B-77BDF9E75AFC}" type="parTrans" cxnId="{B2AFEC60-9445-4A03-85D3-19C286EE8D0C}">
      <dgm:prSet/>
      <dgm:spPr/>
      <dgm:t>
        <a:bodyPr/>
        <a:lstStyle/>
        <a:p>
          <a:endParaRPr lang="en-US" sz="400"/>
        </a:p>
      </dgm:t>
    </dgm:pt>
    <dgm:pt modelId="{4E1FAC4A-B33F-48FA-9993-1A12A5769C10}" type="sibTrans" cxnId="{B2AFEC60-9445-4A03-85D3-19C286EE8D0C}">
      <dgm:prSet/>
      <dgm:spPr/>
      <dgm:t>
        <a:bodyPr/>
        <a:lstStyle/>
        <a:p>
          <a:endParaRPr lang="en-US" sz="400"/>
        </a:p>
      </dgm:t>
    </dgm:pt>
    <dgm:pt modelId="{15848EBA-493F-4766-974B-676C27BFE3D9}">
      <dgm:prSet phldrT="[Text]" custT="1"/>
      <dgm:spPr/>
      <dgm:t>
        <a:bodyPr/>
        <a:lstStyle/>
        <a:p>
          <a:r>
            <a:rPr lang="en-CH" sz="400" dirty="0">
              <a:solidFill>
                <a:schemeClr val="bg1"/>
              </a:solidFill>
            </a:rPr>
            <a:t>Développement de médicaments à but non lucratif </a:t>
          </a:r>
          <a:endParaRPr lang="en-US" sz="400" dirty="0">
            <a:solidFill>
              <a:schemeClr val="bg1"/>
            </a:solidFill>
          </a:endParaRPr>
        </a:p>
      </dgm:t>
    </dgm:pt>
    <dgm:pt modelId="{6C39BAF2-94C8-4F7B-BA26-50F8AE89E2B0}" type="parTrans" cxnId="{17F2310C-FD0C-40AB-ADAE-AF30F38F0EB0}">
      <dgm:prSet/>
      <dgm:spPr/>
      <dgm:t>
        <a:bodyPr/>
        <a:lstStyle/>
        <a:p>
          <a:endParaRPr lang="en-US" sz="400"/>
        </a:p>
      </dgm:t>
    </dgm:pt>
    <dgm:pt modelId="{F8DFC676-622F-4EEC-92F0-36435555F987}" type="sibTrans" cxnId="{17F2310C-FD0C-40AB-ADAE-AF30F38F0EB0}">
      <dgm:prSet/>
      <dgm:spPr/>
      <dgm:t>
        <a:bodyPr/>
        <a:lstStyle/>
        <a:p>
          <a:endParaRPr lang="en-US" sz="400"/>
        </a:p>
      </dgm:t>
    </dgm:pt>
    <dgm:pt modelId="{0838BE74-E7FC-41AD-8E10-534F4627DDB5}">
      <dgm:prSet phldrT="[Text]" custT="1"/>
      <dgm:spPr/>
      <dgm:t>
        <a:bodyPr/>
        <a:lstStyle/>
        <a:p>
          <a:r>
            <a:rPr lang="en-CH" sz="400" dirty="0">
              <a:solidFill>
                <a:srgbClr val="C00000"/>
              </a:solidFill>
            </a:rPr>
            <a:t>Efficacité et transparence du marché</a:t>
          </a:r>
          <a:endParaRPr lang="en-US" sz="400" dirty="0">
            <a:solidFill>
              <a:srgbClr val="C00000"/>
            </a:solidFill>
          </a:endParaRPr>
        </a:p>
      </dgm:t>
    </dgm:pt>
    <dgm:pt modelId="{218926F2-0455-4E0E-8D89-F403F6DF1C00}" type="parTrans" cxnId="{15B92693-6A83-47DC-B92D-506D75E8B2A5}">
      <dgm:prSet/>
      <dgm:spPr/>
      <dgm:t>
        <a:bodyPr/>
        <a:lstStyle/>
        <a:p>
          <a:endParaRPr lang="en-US" sz="400"/>
        </a:p>
      </dgm:t>
    </dgm:pt>
    <dgm:pt modelId="{B83418C6-BE75-4A0C-9BBA-87CE796463B4}" type="sibTrans" cxnId="{15B92693-6A83-47DC-B92D-506D75E8B2A5}">
      <dgm:prSet/>
      <dgm:spPr/>
      <dgm:t>
        <a:bodyPr/>
        <a:lstStyle/>
        <a:p>
          <a:endParaRPr lang="en-US" sz="400"/>
        </a:p>
      </dgm:t>
    </dgm:pt>
    <dgm:pt modelId="{FFC7A71B-697A-4492-94D6-1C0657D288E2}" type="pres">
      <dgm:prSet presAssocID="{62E8A0CC-7B1A-472D-854D-0AEB74A368BE}" presName="compositeShape" presStyleCnt="0">
        <dgm:presLayoutVars>
          <dgm:chMax val="7"/>
          <dgm:dir/>
          <dgm:resizeHandles val="exact"/>
        </dgm:presLayoutVars>
      </dgm:prSet>
      <dgm:spPr/>
    </dgm:pt>
    <dgm:pt modelId="{07B07E17-DE47-4829-911D-88AC6D949DFA}" type="pres">
      <dgm:prSet presAssocID="{62E8A0CC-7B1A-472D-854D-0AEB74A368BE}" presName="wedge1" presStyleLbl="node1" presStyleIdx="0" presStyleCnt="4"/>
      <dgm:spPr/>
    </dgm:pt>
    <dgm:pt modelId="{EC3C5697-F58E-4D34-A47B-44E8F44E3E0C}" type="pres">
      <dgm:prSet presAssocID="{62E8A0CC-7B1A-472D-854D-0AEB74A368BE}" presName="dummy1a" presStyleCnt="0"/>
      <dgm:spPr/>
    </dgm:pt>
    <dgm:pt modelId="{3A4E0685-99D7-40C1-811B-1DCEF2BA884D}" type="pres">
      <dgm:prSet presAssocID="{62E8A0CC-7B1A-472D-854D-0AEB74A368BE}" presName="dummy1b" presStyleCnt="0"/>
      <dgm:spPr/>
    </dgm:pt>
    <dgm:pt modelId="{D1824492-FF5D-4689-A3AE-A958E49DC1CF}" type="pres">
      <dgm:prSet presAssocID="{62E8A0CC-7B1A-472D-854D-0AEB74A368BE}" presName="wedge1Tx" presStyleLbl="node1" presStyleIdx="0" presStyleCnt="4">
        <dgm:presLayoutVars>
          <dgm:chMax val="0"/>
          <dgm:chPref val="0"/>
          <dgm:bulletEnabled val="1"/>
        </dgm:presLayoutVars>
      </dgm:prSet>
      <dgm:spPr/>
    </dgm:pt>
    <dgm:pt modelId="{FD7AC0E5-D6DE-4B7A-BB62-FAA01FFD0C54}" type="pres">
      <dgm:prSet presAssocID="{62E8A0CC-7B1A-472D-854D-0AEB74A368BE}" presName="wedge2" presStyleLbl="node1" presStyleIdx="1" presStyleCnt="4"/>
      <dgm:spPr/>
    </dgm:pt>
    <dgm:pt modelId="{B8BC85C6-9508-4C0B-94AD-695C2B9EC301}" type="pres">
      <dgm:prSet presAssocID="{62E8A0CC-7B1A-472D-854D-0AEB74A368BE}" presName="dummy2a" presStyleCnt="0"/>
      <dgm:spPr/>
    </dgm:pt>
    <dgm:pt modelId="{2DD99AA2-6F48-46D9-B122-1E329741FCEF}" type="pres">
      <dgm:prSet presAssocID="{62E8A0CC-7B1A-472D-854D-0AEB74A368BE}" presName="dummy2b" presStyleCnt="0"/>
      <dgm:spPr/>
    </dgm:pt>
    <dgm:pt modelId="{88DEA717-472C-4738-B8CB-8CE01740C3A2}" type="pres">
      <dgm:prSet presAssocID="{62E8A0CC-7B1A-472D-854D-0AEB74A368BE}" presName="wedge2Tx" presStyleLbl="node1" presStyleIdx="1" presStyleCnt="4">
        <dgm:presLayoutVars>
          <dgm:chMax val="0"/>
          <dgm:chPref val="0"/>
          <dgm:bulletEnabled val="1"/>
        </dgm:presLayoutVars>
      </dgm:prSet>
      <dgm:spPr/>
    </dgm:pt>
    <dgm:pt modelId="{BA96C5E3-1886-4E34-A514-69BA765CFFD8}" type="pres">
      <dgm:prSet presAssocID="{62E8A0CC-7B1A-472D-854D-0AEB74A368BE}" presName="wedge3" presStyleLbl="node1" presStyleIdx="2" presStyleCnt="4"/>
      <dgm:spPr/>
    </dgm:pt>
    <dgm:pt modelId="{8D9530A0-CFE9-494B-8A6F-A30A32B2A90E}" type="pres">
      <dgm:prSet presAssocID="{62E8A0CC-7B1A-472D-854D-0AEB74A368BE}" presName="dummy3a" presStyleCnt="0"/>
      <dgm:spPr/>
    </dgm:pt>
    <dgm:pt modelId="{38C7D9BD-EDA7-4C19-9014-10517F2D444D}" type="pres">
      <dgm:prSet presAssocID="{62E8A0CC-7B1A-472D-854D-0AEB74A368BE}" presName="dummy3b" presStyleCnt="0"/>
      <dgm:spPr/>
    </dgm:pt>
    <dgm:pt modelId="{22436A4C-B7C9-4B50-AA70-FAA768A67624}" type="pres">
      <dgm:prSet presAssocID="{62E8A0CC-7B1A-472D-854D-0AEB74A368BE}" presName="wedge3Tx" presStyleLbl="node1" presStyleIdx="2" presStyleCnt="4">
        <dgm:presLayoutVars>
          <dgm:chMax val="0"/>
          <dgm:chPref val="0"/>
          <dgm:bulletEnabled val="1"/>
        </dgm:presLayoutVars>
      </dgm:prSet>
      <dgm:spPr/>
    </dgm:pt>
    <dgm:pt modelId="{89A4B5C7-CBFD-4DCB-8093-541A2C7FB3AD}" type="pres">
      <dgm:prSet presAssocID="{62E8A0CC-7B1A-472D-854D-0AEB74A368BE}" presName="wedge4" presStyleLbl="node1" presStyleIdx="3" presStyleCnt="4"/>
      <dgm:spPr/>
    </dgm:pt>
    <dgm:pt modelId="{E5153C49-CC49-4A17-8DBA-3D5A1C4E82AD}" type="pres">
      <dgm:prSet presAssocID="{62E8A0CC-7B1A-472D-854D-0AEB74A368BE}" presName="dummy4a" presStyleCnt="0"/>
      <dgm:spPr/>
    </dgm:pt>
    <dgm:pt modelId="{79D861D1-C2C4-45C2-AE51-A216A4749A99}" type="pres">
      <dgm:prSet presAssocID="{62E8A0CC-7B1A-472D-854D-0AEB74A368BE}" presName="dummy4b" presStyleCnt="0"/>
      <dgm:spPr/>
    </dgm:pt>
    <dgm:pt modelId="{66CBC6BE-F40C-4613-B83C-ED250A9F25CB}" type="pres">
      <dgm:prSet presAssocID="{62E8A0CC-7B1A-472D-854D-0AEB74A368BE}" presName="wedge4Tx" presStyleLbl="node1" presStyleIdx="3" presStyleCnt="4">
        <dgm:presLayoutVars>
          <dgm:chMax val="0"/>
          <dgm:chPref val="0"/>
          <dgm:bulletEnabled val="1"/>
        </dgm:presLayoutVars>
      </dgm:prSet>
      <dgm:spPr/>
    </dgm:pt>
    <dgm:pt modelId="{7FB20AC5-19F6-4C40-B06E-B91AADD343EB}" type="pres">
      <dgm:prSet presAssocID="{D37C55AA-E1FA-4269-A324-5E6F6427541B}" presName="arrowWedge1" presStyleLbl="fgSibTrans2D1" presStyleIdx="0" presStyleCnt="4"/>
      <dgm:spPr/>
    </dgm:pt>
    <dgm:pt modelId="{F27FA0E3-C2F7-44C4-8638-14D8DA938170}" type="pres">
      <dgm:prSet presAssocID="{B83418C6-BE75-4A0C-9BBA-87CE796463B4}" presName="arrowWedge2" presStyleLbl="fgSibTrans2D1" presStyleIdx="1" presStyleCnt="4"/>
      <dgm:spPr/>
    </dgm:pt>
    <dgm:pt modelId="{42381FB1-FC83-4305-B481-7D2A47FA5F8A}" type="pres">
      <dgm:prSet presAssocID="{4E1FAC4A-B33F-48FA-9993-1A12A5769C10}" presName="arrowWedge3" presStyleLbl="fgSibTrans2D1" presStyleIdx="2" presStyleCnt="4"/>
      <dgm:spPr/>
    </dgm:pt>
    <dgm:pt modelId="{2B9CB229-072F-4692-82DD-680D0660D823}" type="pres">
      <dgm:prSet presAssocID="{F8DFC676-622F-4EEC-92F0-36435555F987}" presName="arrowWedge4" presStyleLbl="fgSibTrans2D1" presStyleIdx="3" presStyleCnt="4"/>
      <dgm:spPr/>
    </dgm:pt>
  </dgm:ptLst>
  <dgm:cxnLst>
    <dgm:cxn modelId="{BDBEAA00-D20C-482A-80DD-A7E3E5F6BF19}" type="presOf" srcId="{15848EBA-493F-4766-974B-676C27BFE3D9}" destId="{66CBC6BE-F40C-4613-B83C-ED250A9F25CB}" srcOrd="1" destOrd="0" presId="urn:microsoft.com/office/officeart/2005/8/layout/cycle8"/>
    <dgm:cxn modelId="{3D970202-D8BA-4EA5-94B7-12A19B3D14CA}" type="presOf" srcId="{8BA3BFB4-F268-4A45-95DB-94ADDE23522E}" destId="{D1824492-FF5D-4689-A3AE-A958E49DC1CF}" srcOrd="1" destOrd="0" presId="urn:microsoft.com/office/officeart/2005/8/layout/cycle8"/>
    <dgm:cxn modelId="{17F2310C-FD0C-40AB-ADAE-AF30F38F0EB0}" srcId="{62E8A0CC-7B1A-472D-854D-0AEB74A368BE}" destId="{15848EBA-493F-4766-974B-676C27BFE3D9}" srcOrd="3" destOrd="0" parTransId="{6C39BAF2-94C8-4F7B-BA26-50F8AE89E2B0}" sibTransId="{F8DFC676-622F-4EEC-92F0-36435555F987}"/>
    <dgm:cxn modelId="{11896810-30BA-4DFD-A369-4590327FB751}" srcId="{62E8A0CC-7B1A-472D-854D-0AEB74A368BE}" destId="{8BA3BFB4-F268-4A45-95DB-94ADDE23522E}" srcOrd="0" destOrd="0" parTransId="{C3DC2BC3-66DA-4ACA-B077-0043B7BEE5D7}" sibTransId="{D37C55AA-E1FA-4269-A324-5E6F6427541B}"/>
    <dgm:cxn modelId="{B2AFEC60-9445-4A03-85D3-19C286EE8D0C}" srcId="{62E8A0CC-7B1A-472D-854D-0AEB74A368BE}" destId="{430BCA2E-FE17-4CC6-B3E6-7F4D25738751}" srcOrd="2" destOrd="0" parTransId="{A3453F60-3733-4320-A04B-77BDF9E75AFC}" sibTransId="{4E1FAC4A-B33F-48FA-9993-1A12A5769C10}"/>
    <dgm:cxn modelId="{8EBBBA47-0EB4-4DE2-A5D2-9E6A4246DEC9}" type="presOf" srcId="{430BCA2E-FE17-4CC6-B3E6-7F4D25738751}" destId="{22436A4C-B7C9-4B50-AA70-FAA768A67624}" srcOrd="1" destOrd="0" presId="urn:microsoft.com/office/officeart/2005/8/layout/cycle8"/>
    <dgm:cxn modelId="{8C8BAB71-27A1-4F6E-A504-D250AF1DCA08}" type="presOf" srcId="{0838BE74-E7FC-41AD-8E10-534F4627DDB5}" destId="{88DEA717-472C-4738-B8CB-8CE01740C3A2}" srcOrd="1" destOrd="0" presId="urn:microsoft.com/office/officeart/2005/8/layout/cycle8"/>
    <dgm:cxn modelId="{15B92693-6A83-47DC-B92D-506D75E8B2A5}" srcId="{62E8A0CC-7B1A-472D-854D-0AEB74A368BE}" destId="{0838BE74-E7FC-41AD-8E10-534F4627DDB5}" srcOrd="1" destOrd="0" parTransId="{218926F2-0455-4E0E-8D89-F403F6DF1C00}" sibTransId="{B83418C6-BE75-4A0C-9BBA-87CE796463B4}"/>
    <dgm:cxn modelId="{52990594-70ED-4C3D-B6ED-E9E2AE50F580}" type="presOf" srcId="{62E8A0CC-7B1A-472D-854D-0AEB74A368BE}" destId="{FFC7A71B-697A-4492-94D6-1C0657D288E2}" srcOrd="0" destOrd="0" presId="urn:microsoft.com/office/officeart/2005/8/layout/cycle8"/>
    <dgm:cxn modelId="{7B13D495-8C0C-4053-9C0E-57FB07BF5EF3}" type="presOf" srcId="{430BCA2E-FE17-4CC6-B3E6-7F4D25738751}" destId="{BA96C5E3-1886-4E34-A514-69BA765CFFD8}" srcOrd="0" destOrd="0" presId="urn:microsoft.com/office/officeart/2005/8/layout/cycle8"/>
    <dgm:cxn modelId="{E0AC09CE-0AC0-43C6-93B2-B0F4FC573054}" type="presOf" srcId="{8BA3BFB4-F268-4A45-95DB-94ADDE23522E}" destId="{07B07E17-DE47-4829-911D-88AC6D949DFA}" srcOrd="0" destOrd="0" presId="urn:microsoft.com/office/officeart/2005/8/layout/cycle8"/>
    <dgm:cxn modelId="{31551AEA-2976-4BD1-932C-DEE5C6861C24}" type="presOf" srcId="{15848EBA-493F-4766-974B-676C27BFE3D9}" destId="{89A4B5C7-CBFD-4DCB-8093-541A2C7FB3AD}" srcOrd="0" destOrd="0" presId="urn:microsoft.com/office/officeart/2005/8/layout/cycle8"/>
    <dgm:cxn modelId="{E7A9A6FF-0F18-4CCB-81EB-3EC04A7E05CF}" type="presOf" srcId="{0838BE74-E7FC-41AD-8E10-534F4627DDB5}" destId="{FD7AC0E5-D6DE-4B7A-BB62-FAA01FFD0C54}" srcOrd="0" destOrd="0" presId="urn:microsoft.com/office/officeart/2005/8/layout/cycle8"/>
    <dgm:cxn modelId="{38C51A05-A22D-403A-AC7B-B4D3EF243576}" type="presParOf" srcId="{FFC7A71B-697A-4492-94D6-1C0657D288E2}" destId="{07B07E17-DE47-4829-911D-88AC6D949DFA}" srcOrd="0" destOrd="0" presId="urn:microsoft.com/office/officeart/2005/8/layout/cycle8"/>
    <dgm:cxn modelId="{85E3C8FF-B266-482D-B5D7-E84C2A27C1C2}" type="presParOf" srcId="{FFC7A71B-697A-4492-94D6-1C0657D288E2}" destId="{EC3C5697-F58E-4D34-A47B-44E8F44E3E0C}" srcOrd="1" destOrd="0" presId="urn:microsoft.com/office/officeart/2005/8/layout/cycle8"/>
    <dgm:cxn modelId="{40D02756-BE8B-472B-ACE9-C9F927356B4B}" type="presParOf" srcId="{FFC7A71B-697A-4492-94D6-1C0657D288E2}" destId="{3A4E0685-99D7-40C1-811B-1DCEF2BA884D}" srcOrd="2" destOrd="0" presId="urn:microsoft.com/office/officeart/2005/8/layout/cycle8"/>
    <dgm:cxn modelId="{0D0DD023-9EBA-4F9B-97C7-CE0C74519EB1}" type="presParOf" srcId="{FFC7A71B-697A-4492-94D6-1C0657D288E2}" destId="{D1824492-FF5D-4689-A3AE-A958E49DC1CF}" srcOrd="3" destOrd="0" presId="urn:microsoft.com/office/officeart/2005/8/layout/cycle8"/>
    <dgm:cxn modelId="{73C82753-464A-4959-BC42-05225150A5F9}" type="presParOf" srcId="{FFC7A71B-697A-4492-94D6-1C0657D288E2}" destId="{FD7AC0E5-D6DE-4B7A-BB62-FAA01FFD0C54}" srcOrd="4" destOrd="0" presId="urn:microsoft.com/office/officeart/2005/8/layout/cycle8"/>
    <dgm:cxn modelId="{17DB2C95-6B89-419C-AA98-DB0118EAEF63}" type="presParOf" srcId="{FFC7A71B-697A-4492-94D6-1C0657D288E2}" destId="{B8BC85C6-9508-4C0B-94AD-695C2B9EC301}" srcOrd="5" destOrd="0" presId="urn:microsoft.com/office/officeart/2005/8/layout/cycle8"/>
    <dgm:cxn modelId="{95F0C3EE-A21D-466A-A3BB-54765853A7BA}" type="presParOf" srcId="{FFC7A71B-697A-4492-94D6-1C0657D288E2}" destId="{2DD99AA2-6F48-46D9-B122-1E329741FCEF}" srcOrd="6" destOrd="0" presId="urn:microsoft.com/office/officeart/2005/8/layout/cycle8"/>
    <dgm:cxn modelId="{B674141B-41E2-412C-92B2-11BF34F8479C}" type="presParOf" srcId="{FFC7A71B-697A-4492-94D6-1C0657D288E2}" destId="{88DEA717-472C-4738-B8CB-8CE01740C3A2}" srcOrd="7" destOrd="0" presId="urn:microsoft.com/office/officeart/2005/8/layout/cycle8"/>
    <dgm:cxn modelId="{530B1AE6-A7FA-47D7-87B4-06EE95663D80}" type="presParOf" srcId="{FFC7A71B-697A-4492-94D6-1C0657D288E2}" destId="{BA96C5E3-1886-4E34-A514-69BA765CFFD8}" srcOrd="8" destOrd="0" presId="urn:microsoft.com/office/officeart/2005/8/layout/cycle8"/>
    <dgm:cxn modelId="{90360636-5341-4353-9A65-40A07FCC97B1}" type="presParOf" srcId="{FFC7A71B-697A-4492-94D6-1C0657D288E2}" destId="{8D9530A0-CFE9-494B-8A6F-A30A32B2A90E}" srcOrd="9" destOrd="0" presId="urn:microsoft.com/office/officeart/2005/8/layout/cycle8"/>
    <dgm:cxn modelId="{2EE735BB-580C-49A4-AA65-1FD7036D1058}" type="presParOf" srcId="{FFC7A71B-697A-4492-94D6-1C0657D288E2}" destId="{38C7D9BD-EDA7-4C19-9014-10517F2D444D}" srcOrd="10" destOrd="0" presId="urn:microsoft.com/office/officeart/2005/8/layout/cycle8"/>
    <dgm:cxn modelId="{D8DB6044-FD10-46B3-B89F-933BE7CDDD86}" type="presParOf" srcId="{FFC7A71B-697A-4492-94D6-1C0657D288E2}" destId="{22436A4C-B7C9-4B50-AA70-FAA768A67624}" srcOrd="11" destOrd="0" presId="urn:microsoft.com/office/officeart/2005/8/layout/cycle8"/>
    <dgm:cxn modelId="{9F56C84D-4DAC-400C-A036-8498A86FE24D}" type="presParOf" srcId="{FFC7A71B-697A-4492-94D6-1C0657D288E2}" destId="{89A4B5C7-CBFD-4DCB-8093-541A2C7FB3AD}" srcOrd="12" destOrd="0" presId="urn:microsoft.com/office/officeart/2005/8/layout/cycle8"/>
    <dgm:cxn modelId="{131226BD-3D71-413A-9ECE-DE4C3787F8DE}" type="presParOf" srcId="{FFC7A71B-697A-4492-94D6-1C0657D288E2}" destId="{E5153C49-CC49-4A17-8DBA-3D5A1C4E82AD}" srcOrd="13" destOrd="0" presId="urn:microsoft.com/office/officeart/2005/8/layout/cycle8"/>
    <dgm:cxn modelId="{1FADD572-3827-4AD7-964D-BF7342C29870}" type="presParOf" srcId="{FFC7A71B-697A-4492-94D6-1C0657D288E2}" destId="{79D861D1-C2C4-45C2-AE51-A216A4749A99}" srcOrd="14" destOrd="0" presId="urn:microsoft.com/office/officeart/2005/8/layout/cycle8"/>
    <dgm:cxn modelId="{721C5DA0-7DD2-4453-BBC2-48570966A896}" type="presParOf" srcId="{FFC7A71B-697A-4492-94D6-1C0657D288E2}" destId="{66CBC6BE-F40C-4613-B83C-ED250A9F25CB}" srcOrd="15" destOrd="0" presId="urn:microsoft.com/office/officeart/2005/8/layout/cycle8"/>
    <dgm:cxn modelId="{59C49D42-470D-4D76-97EA-0FC4031E4214}" type="presParOf" srcId="{FFC7A71B-697A-4492-94D6-1C0657D288E2}" destId="{7FB20AC5-19F6-4C40-B06E-B91AADD343EB}" srcOrd="16" destOrd="0" presId="urn:microsoft.com/office/officeart/2005/8/layout/cycle8"/>
    <dgm:cxn modelId="{67B925F2-F511-481D-A306-DEC426B15279}" type="presParOf" srcId="{FFC7A71B-697A-4492-94D6-1C0657D288E2}" destId="{F27FA0E3-C2F7-44C4-8638-14D8DA938170}" srcOrd="17" destOrd="0" presId="urn:microsoft.com/office/officeart/2005/8/layout/cycle8"/>
    <dgm:cxn modelId="{6A37D59F-95AC-4BD5-A379-CAD28050B2AF}" type="presParOf" srcId="{FFC7A71B-697A-4492-94D6-1C0657D288E2}" destId="{42381FB1-FC83-4305-B481-7D2A47FA5F8A}" srcOrd="18" destOrd="0" presId="urn:microsoft.com/office/officeart/2005/8/layout/cycle8"/>
    <dgm:cxn modelId="{C2917D63-110B-48F0-A092-7E1CF38FFC87}" type="presParOf" srcId="{FFC7A71B-697A-4492-94D6-1C0657D288E2}" destId="{2B9CB229-072F-4692-82DD-680D0660D823}"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68FA853-B739-46FF-901D-DA114148DBC8}" type="doc">
      <dgm:prSet loTypeId="urn:microsoft.com/office/officeart/2005/8/layout/cycle6" loCatId="relationship" qsTypeId="urn:microsoft.com/office/officeart/2005/8/quickstyle/simple1" qsCatId="simple" csTypeId="urn:microsoft.com/office/officeart/2005/8/colors/accent1_2" csCatId="accent1" phldr="1"/>
      <dgm:spPr/>
      <dgm:t>
        <a:bodyPr/>
        <a:lstStyle/>
        <a:p>
          <a:endParaRPr lang="en-US"/>
        </a:p>
      </dgm:t>
    </dgm:pt>
    <dgm:pt modelId="{CEF15306-C46A-4E37-884B-CDA231F32390}">
      <dgm:prSet phldrT="[Text]"/>
      <dgm:spPr/>
      <dgm:t>
        <a:bodyPr/>
        <a:lstStyle/>
        <a:p>
          <a:r>
            <a:rPr lang="x-none" dirty="0"/>
            <a:t>Utilisation claire </a:t>
          </a:r>
          <a:r>
            <a:rPr lang="en-US" dirty="0"/>
            <a:t>des guides de </a:t>
          </a:r>
          <a:r>
            <a:rPr lang="en-US" dirty="0" err="1"/>
            <a:t>traitement</a:t>
          </a:r>
          <a:endParaRPr lang="en-US" dirty="0"/>
        </a:p>
      </dgm:t>
    </dgm:pt>
    <dgm:pt modelId="{12AE4B04-D95A-4AAB-9698-60603B8E0688}" type="parTrans" cxnId="{8C359B98-C7DE-4271-8B72-FBF2BE268649}">
      <dgm:prSet/>
      <dgm:spPr/>
      <dgm:t>
        <a:bodyPr/>
        <a:lstStyle/>
        <a:p>
          <a:endParaRPr lang="en-US"/>
        </a:p>
      </dgm:t>
    </dgm:pt>
    <dgm:pt modelId="{AF947F60-4D31-403F-B4AE-6890177FE7BD}" type="sibTrans" cxnId="{8C359B98-C7DE-4271-8B72-FBF2BE268649}">
      <dgm:prSet/>
      <dgm:spPr/>
      <dgm:t>
        <a:bodyPr/>
        <a:lstStyle/>
        <a:p>
          <a:endParaRPr lang="en-US"/>
        </a:p>
      </dgm:t>
    </dgm:pt>
    <dgm:pt modelId="{7AB24407-FC77-4087-A5AC-359BE8A93B80}">
      <dgm:prSet phldrT="[Text]"/>
      <dgm:spPr/>
      <dgm:t>
        <a:bodyPr/>
        <a:lstStyle/>
        <a:p>
          <a:r>
            <a:rPr lang="x-none"/>
            <a:t>Financement externe</a:t>
          </a:r>
          <a:endParaRPr lang="en-US"/>
        </a:p>
      </dgm:t>
    </dgm:pt>
    <dgm:pt modelId="{5B2FE9B9-179F-44D4-B437-0C5958691CB1}" type="parTrans" cxnId="{384237C5-4AF6-4645-84B6-CCDBDF64B299}">
      <dgm:prSet/>
      <dgm:spPr/>
      <dgm:t>
        <a:bodyPr/>
        <a:lstStyle/>
        <a:p>
          <a:endParaRPr lang="en-US"/>
        </a:p>
      </dgm:t>
    </dgm:pt>
    <dgm:pt modelId="{1BC7C07F-6722-4BE9-89C6-4A13276C0E7D}" type="sibTrans" cxnId="{384237C5-4AF6-4645-84B6-CCDBDF64B299}">
      <dgm:prSet/>
      <dgm:spPr/>
      <dgm:t>
        <a:bodyPr/>
        <a:lstStyle/>
        <a:p>
          <a:endParaRPr lang="en-US"/>
        </a:p>
      </dgm:t>
    </dgm:pt>
    <dgm:pt modelId="{75A71806-3B25-4517-B357-EA46C9041C0C}">
      <dgm:prSet phldrT="[Text]"/>
      <dgm:spPr/>
      <dgm:t>
        <a:bodyPr/>
        <a:lstStyle/>
        <a:p>
          <a:r>
            <a:rPr lang="x-none" dirty="0"/>
            <a:t>Soutien multipartenaire</a:t>
          </a:r>
          <a:endParaRPr lang="en-US" dirty="0"/>
        </a:p>
      </dgm:t>
    </dgm:pt>
    <dgm:pt modelId="{31D711A5-5996-4740-BAD1-3547087DD651}" type="parTrans" cxnId="{4D97C2A3-6C5E-4873-B2BC-B83F9D2D8E27}">
      <dgm:prSet/>
      <dgm:spPr/>
      <dgm:t>
        <a:bodyPr/>
        <a:lstStyle/>
        <a:p>
          <a:endParaRPr lang="en-US"/>
        </a:p>
      </dgm:t>
    </dgm:pt>
    <dgm:pt modelId="{FB7FEAF8-AD75-4F10-9CE7-C785801CE85A}" type="sibTrans" cxnId="{4D97C2A3-6C5E-4873-B2BC-B83F9D2D8E27}">
      <dgm:prSet/>
      <dgm:spPr/>
      <dgm:t>
        <a:bodyPr/>
        <a:lstStyle/>
        <a:p>
          <a:endParaRPr lang="en-US"/>
        </a:p>
      </dgm:t>
    </dgm:pt>
    <dgm:pt modelId="{3743A12F-264F-4943-8034-5D3AE815667E}">
      <dgm:prSet phldrT="[Text]"/>
      <dgm:spPr/>
      <dgm:t>
        <a:bodyPr/>
        <a:lstStyle/>
        <a:p>
          <a:r>
            <a:rPr lang="x-none" dirty="0"/>
            <a:t>Comités d'examen clinique</a:t>
          </a:r>
          <a:endParaRPr lang="en-US" dirty="0"/>
        </a:p>
      </dgm:t>
    </dgm:pt>
    <dgm:pt modelId="{AB41D9CB-5D2D-47C2-B111-9ED1FE8F485B}" type="parTrans" cxnId="{F1B29524-F2B5-461F-AB3D-F0C39BC7A7BE}">
      <dgm:prSet/>
      <dgm:spPr/>
      <dgm:t>
        <a:bodyPr/>
        <a:lstStyle/>
        <a:p>
          <a:endParaRPr lang="en-US"/>
        </a:p>
      </dgm:t>
    </dgm:pt>
    <dgm:pt modelId="{7E21D986-7CA2-432E-A51D-09F6DBC2EBE6}" type="sibTrans" cxnId="{F1B29524-F2B5-461F-AB3D-F0C39BC7A7BE}">
      <dgm:prSet/>
      <dgm:spPr/>
      <dgm:t>
        <a:bodyPr/>
        <a:lstStyle/>
        <a:p>
          <a:endParaRPr lang="en-US"/>
        </a:p>
      </dgm:t>
    </dgm:pt>
    <dgm:pt modelId="{DABD93CF-FF2E-4A6C-9701-6A135D6B0CF2}">
      <dgm:prSet phldrT="[Text]" custT="1"/>
      <dgm:spPr/>
      <dgm:t>
        <a:bodyPr/>
        <a:lstStyle/>
        <a:p>
          <a:r>
            <a:rPr lang="x-none" sz="2000" dirty="0"/>
            <a:t>Importation via une dérogation en attendant l'enregistrement</a:t>
          </a:r>
          <a:endParaRPr lang="en-US" sz="2000" dirty="0"/>
        </a:p>
      </dgm:t>
    </dgm:pt>
    <dgm:pt modelId="{CE8413FD-FD51-4237-BF23-31F769B38FA5}" type="parTrans" cxnId="{7A1BED98-2A37-4756-8CF0-675C1AFDBA13}">
      <dgm:prSet/>
      <dgm:spPr/>
      <dgm:t>
        <a:bodyPr/>
        <a:lstStyle/>
        <a:p>
          <a:endParaRPr lang="en-US"/>
        </a:p>
      </dgm:t>
    </dgm:pt>
    <dgm:pt modelId="{D2DC3F06-372A-43CD-B126-CEC2A13CD23B}" type="sibTrans" cxnId="{7A1BED98-2A37-4756-8CF0-675C1AFDBA13}">
      <dgm:prSet/>
      <dgm:spPr/>
      <dgm:t>
        <a:bodyPr/>
        <a:lstStyle/>
        <a:p>
          <a:endParaRPr lang="en-US"/>
        </a:p>
      </dgm:t>
    </dgm:pt>
    <dgm:pt modelId="{69CA5CD5-4D9D-4C82-8FBE-3E57BE6D65FC}" type="pres">
      <dgm:prSet presAssocID="{068FA853-B739-46FF-901D-DA114148DBC8}" presName="cycle" presStyleCnt="0">
        <dgm:presLayoutVars>
          <dgm:dir/>
          <dgm:resizeHandles val="exact"/>
        </dgm:presLayoutVars>
      </dgm:prSet>
      <dgm:spPr/>
    </dgm:pt>
    <dgm:pt modelId="{C4FC8B75-4E9A-4104-80F7-1D046C5A82F0}" type="pres">
      <dgm:prSet presAssocID="{CEF15306-C46A-4E37-884B-CDA231F32390}" presName="node" presStyleLbl="node1" presStyleIdx="0" presStyleCnt="5" custScaleX="111696" custScaleY="129555">
        <dgm:presLayoutVars>
          <dgm:bulletEnabled val="1"/>
        </dgm:presLayoutVars>
      </dgm:prSet>
      <dgm:spPr/>
    </dgm:pt>
    <dgm:pt modelId="{1187FEF3-BCE8-4DC7-A72C-FC6881934E90}" type="pres">
      <dgm:prSet presAssocID="{CEF15306-C46A-4E37-884B-CDA231F32390}" presName="spNode" presStyleCnt="0"/>
      <dgm:spPr/>
    </dgm:pt>
    <dgm:pt modelId="{B2EF9079-7CD5-4F9F-809B-D2160F6234F9}" type="pres">
      <dgm:prSet presAssocID="{AF947F60-4D31-403F-B4AE-6890177FE7BD}" presName="sibTrans" presStyleLbl="sibTrans1D1" presStyleIdx="0" presStyleCnt="5"/>
      <dgm:spPr/>
    </dgm:pt>
    <dgm:pt modelId="{ABDA7CE6-9556-468E-983E-5376D898872E}" type="pres">
      <dgm:prSet presAssocID="{7AB24407-FC77-4087-A5AC-359BE8A93B80}" presName="node" presStyleLbl="node1" presStyleIdx="1" presStyleCnt="5" custScaleX="121709" custScaleY="134186">
        <dgm:presLayoutVars>
          <dgm:bulletEnabled val="1"/>
        </dgm:presLayoutVars>
      </dgm:prSet>
      <dgm:spPr/>
    </dgm:pt>
    <dgm:pt modelId="{059F27E5-ACCB-4638-B8ED-7BDF2244AD50}" type="pres">
      <dgm:prSet presAssocID="{7AB24407-FC77-4087-A5AC-359BE8A93B80}" presName="spNode" presStyleCnt="0"/>
      <dgm:spPr/>
    </dgm:pt>
    <dgm:pt modelId="{14F2D2E0-13DB-4DEC-BCEA-04BEC0616FAE}" type="pres">
      <dgm:prSet presAssocID="{1BC7C07F-6722-4BE9-89C6-4A13276C0E7D}" presName="sibTrans" presStyleLbl="sibTrans1D1" presStyleIdx="1" presStyleCnt="5"/>
      <dgm:spPr/>
    </dgm:pt>
    <dgm:pt modelId="{69DF8742-D8DE-4609-93F2-033368B7095E}" type="pres">
      <dgm:prSet presAssocID="{75A71806-3B25-4517-B357-EA46C9041C0C}" presName="node" presStyleLbl="node1" presStyleIdx="2" presStyleCnt="5" custScaleX="136946" custScaleY="113900" custRadScaleRad="100420" custRadScaleInc="-41016">
        <dgm:presLayoutVars>
          <dgm:bulletEnabled val="1"/>
        </dgm:presLayoutVars>
      </dgm:prSet>
      <dgm:spPr/>
    </dgm:pt>
    <dgm:pt modelId="{BDDE61F7-321D-4CE8-AE0C-9316BE06DAD7}" type="pres">
      <dgm:prSet presAssocID="{75A71806-3B25-4517-B357-EA46C9041C0C}" presName="spNode" presStyleCnt="0"/>
      <dgm:spPr/>
    </dgm:pt>
    <dgm:pt modelId="{76CA1D28-5C43-444D-B068-60033A4020B5}" type="pres">
      <dgm:prSet presAssocID="{FB7FEAF8-AD75-4F10-9CE7-C785801CE85A}" presName="sibTrans" presStyleLbl="sibTrans1D1" presStyleIdx="2" presStyleCnt="5"/>
      <dgm:spPr/>
    </dgm:pt>
    <dgm:pt modelId="{F127F51F-0076-4185-93D5-5D45FDE350AC}" type="pres">
      <dgm:prSet presAssocID="{3743A12F-264F-4943-8034-5D3AE815667E}" presName="node" presStyleLbl="node1" presStyleIdx="3" presStyleCnt="5" custScaleX="145798" custScaleY="124638" custRadScaleRad="97846" custRadScaleInc="19893">
        <dgm:presLayoutVars>
          <dgm:bulletEnabled val="1"/>
        </dgm:presLayoutVars>
      </dgm:prSet>
      <dgm:spPr/>
    </dgm:pt>
    <dgm:pt modelId="{EF142C4D-99A5-4F11-928A-4C2BFDCC9A6C}" type="pres">
      <dgm:prSet presAssocID="{3743A12F-264F-4943-8034-5D3AE815667E}" presName="spNode" presStyleCnt="0"/>
      <dgm:spPr/>
    </dgm:pt>
    <dgm:pt modelId="{453E69E0-4C27-45D6-B555-BB74D4628FB7}" type="pres">
      <dgm:prSet presAssocID="{7E21D986-7CA2-432E-A51D-09F6DBC2EBE6}" presName="sibTrans" presStyleLbl="sibTrans1D1" presStyleIdx="3" presStyleCnt="5"/>
      <dgm:spPr/>
    </dgm:pt>
    <dgm:pt modelId="{0BA23F83-7DFF-4D8D-A639-6898E85BCD4A}" type="pres">
      <dgm:prSet presAssocID="{DABD93CF-FF2E-4A6C-9701-6A135D6B0CF2}" presName="node" presStyleLbl="node1" presStyleIdx="4" presStyleCnt="5" custScaleX="143417" custScaleY="126825">
        <dgm:presLayoutVars>
          <dgm:bulletEnabled val="1"/>
        </dgm:presLayoutVars>
      </dgm:prSet>
      <dgm:spPr/>
    </dgm:pt>
    <dgm:pt modelId="{1B30F4DE-2552-46FC-846F-C555941A7670}" type="pres">
      <dgm:prSet presAssocID="{DABD93CF-FF2E-4A6C-9701-6A135D6B0CF2}" presName="spNode" presStyleCnt="0"/>
      <dgm:spPr/>
    </dgm:pt>
    <dgm:pt modelId="{FC1FED21-9043-4F3D-AE36-A1D9804C7CCE}" type="pres">
      <dgm:prSet presAssocID="{D2DC3F06-372A-43CD-B126-CEC2A13CD23B}" presName="sibTrans" presStyleLbl="sibTrans1D1" presStyleIdx="4" presStyleCnt="5"/>
      <dgm:spPr/>
    </dgm:pt>
  </dgm:ptLst>
  <dgm:cxnLst>
    <dgm:cxn modelId="{B20D0C0A-4A70-48DB-9D97-1537CF9E4543}" type="presOf" srcId="{DABD93CF-FF2E-4A6C-9701-6A135D6B0CF2}" destId="{0BA23F83-7DFF-4D8D-A639-6898E85BCD4A}" srcOrd="0" destOrd="0" presId="urn:microsoft.com/office/officeart/2005/8/layout/cycle6"/>
    <dgm:cxn modelId="{F6DEBF0F-7F33-40E3-951C-B2704E14934D}" type="presOf" srcId="{FB7FEAF8-AD75-4F10-9CE7-C785801CE85A}" destId="{76CA1D28-5C43-444D-B068-60033A4020B5}" srcOrd="0" destOrd="0" presId="urn:microsoft.com/office/officeart/2005/8/layout/cycle6"/>
    <dgm:cxn modelId="{F1B29524-F2B5-461F-AB3D-F0C39BC7A7BE}" srcId="{068FA853-B739-46FF-901D-DA114148DBC8}" destId="{3743A12F-264F-4943-8034-5D3AE815667E}" srcOrd="3" destOrd="0" parTransId="{AB41D9CB-5D2D-47C2-B111-9ED1FE8F485B}" sibTransId="{7E21D986-7CA2-432E-A51D-09F6DBC2EBE6}"/>
    <dgm:cxn modelId="{34492238-2B36-4708-852D-E5E76E54E135}" type="presOf" srcId="{D2DC3F06-372A-43CD-B126-CEC2A13CD23B}" destId="{FC1FED21-9043-4F3D-AE36-A1D9804C7CCE}" srcOrd="0" destOrd="0" presId="urn:microsoft.com/office/officeart/2005/8/layout/cycle6"/>
    <dgm:cxn modelId="{2567C13F-BB2B-4D18-83CB-8002A3743D7A}" type="presOf" srcId="{7AB24407-FC77-4087-A5AC-359BE8A93B80}" destId="{ABDA7CE6-9556-468E-983E-5376D898872E}" srcOrd="0" destOrd="0" presId="urn:microsoft.com/office/officeart/2005/8/layout/cycle6"/>
    <dgm:cxn modelId="{6D88506D-67AF-457B-9F8A-9A1177F07D6A}" type="presOf" srcId="{7E21D986-7CA2-432E-A51D-09F6DBC2EBE6}" destId="{453E69E0-4C27-45D6-B555-BB74D4628FB7}" srcOrd="0" destOrd="0" presId="urn:microsoft.com/office/officeart/2005/8/layout/cycle6"/>
    <dgm:cxn modelId="{8EB01270-A40A-4531-9423-4A09B47E5CE4}" type="presOf" srcId="{068FA853-B739-46FF-901D-DA114148DBC8}" destId="{69CA5CD5-4D9D-4C82-8FBE-3E57BE6D65FC}" srcOrd="0" destOrd="0" presId="urn:microsoft.com/office/officeart/2005/8/layout/cycle6"/>
    <dgm:cxn modelId="{8EF83081-B86B-4924-8B93-242CE189BC52}" type="presOf" srcId="{1BC7C07F-6722-4BE9-89C6-4A13276C0E7D}" destId="{14F2D2E0-13DB-4DEC-BCEA-04BEC0616FAE}" srcOrd="0" destOrd="0" presId="urn:microsoft.com/office/officeart/2005/8/layout/cycle6"/>
    <dgm:cxn modelId="{8C359B98-C7DE-4271-8B72-FBF2BE268649}" srcId="{068FA853-B739-46FF-901D-DA114148DBC8}" destId="{CEF15306-C46A-4E37-884B-CDA231F32390}" srcOrd="0" destOrd="0" parTransId="{12AE4B04-D95A-4AAB-9698-60603B8E0688}" sibTransId="{AF947F60-4D31-403F-B4AE-6890177FE7BD}"/>
    <dgm:cxn modelId="{7A1BED98-2A37-4756-8CF0-675C1AFDBA13}" srcId="{068FA853-B739-46FF-901D-DA114148DBC8}" destId="{DABD93CF-FF2E-4A6C-9701-6A135D6B0CF2}" srcOrd="4" destOrd="0" parTransId="{CE8413FD-FD51-4237-BF23-31F769B38FA5}" sibTransId="{D2DC3F06-372A-43CD-B126-CEC2A13CD23B}"/>
    <dgm:cxn modelId="{4D97C2A3-6C5E-4873-B2BC-B83F9D2D8E27}" srcId="{068FA853-B739-46FF-901D-DA114148DBC8}" destId="{75A71806-3B25-4517-B357-EA46C9041C0C}" srcOrd="2" destOrd="0" parTransId="{31D711A5-5996-4740-BAD1-3547087DD651}" sibTransId="{FB7FEAF8-AD75-4F10-9CE7-C785801CE85A}"/>
    <dgm:cxn modelId="{154524C3-1393-41D2-BE7A-2B0C25177D50}" type="presOf" srcId="{AF947F60-4D31-403F-B4AE-6890177FE7BD}" destId="{B2EF9079-7CD5-4F9F-809B-D2160F6234F9}" srcOrd="0" destOrd="0" presId="urn:microsoft.com/office/officeart/2005/8/layout/cycle6"/>
    <dgm:cxn modelId="{384237C5-4AF6-4645-84B6-CCDBDF64B299}" srcId="{068FA853-B739-46FF-901D-DA114148DBC8}" destId="{7AB24407-FC77-4087-A5AC-359BE8A93B80}" srcOrd="1" destOrd="0" parTransId="{5B2FE9B9-179F-44D4-B437-0C5958691CB1}" sibTransId="{1BC7C07F-6722-4BE9-89C6-4A13276C0E7D}"/>
    <dgm:cxn modelId="{9561DCC8-BE9B-4983-B625-2525D68BB725}" type="presOf" srcId="{3743A12F-264F-4943-8034-5D3AE815667E}" destId="{F127F51F-0076-4185-93D5-5D45FDE350AC}" srcOrd="0" destOrd="0" presId="urn:microsoft.com/office/officeart/2005/8/layout/cycle6"/>
    <dgm:cxn modelId="{9A658BFA-7617-4B93-9D29-A58F1F1030BB}" type="presOf" srcId="{CEF15306-C46A-4E37-884B-CDA231F32390}" destId="{C4FC8B75-4E9A-4104-80F7-1D046C5A82F0}" srcOrd="0" destOrd="0" presId="urn:microsoft.com/office/officeart/2005/8/layout/cycle6"/>
    <dgm:cxn modelId="{E5C243FE-10E4-44AF-9FD3-9CA6F526FB5A}" type="presOf" srcId="{75A71806-3B25-4517-B357-EA46C9041C0C}" destId="{69DF8742-D8DE-4609-93F2-033368B7095E}" srcOrd="0" destOrd="0" presId="urn:microsoft.com/office/officeart/2005/8/layout/cycle6"/>
    <dgm:cxn modelId="{2D8B4AA0-BCF8-4C91-8823-AC524351DD61}" type="presParOf" srcId="{69CA5CD5-4D9D-4C82-8FBE-3E57BE6D65FC}" destId="{C4FC8B75-4E9A-4104-80F7-1D046C5A82F0}" srcOrd="0" destOrd="0" presId="urn:microsoft.com/office/officeart/2005/8/layout/cycle6"/>
    <dgm:cxn modelId="{D7D95934-4868-4AD7-A088-3DFB87D29E0F}" type="presParOf" srcId="{69CA5CD5-4D9D-4C82-8FBE-3E57BE6D65FC}" destId="{1187FEF3-BCE8-4DC7-A72C-FC6881934E90}" srcOrd="1" destOrd="0" presId="urn:microsoft.com/office/officeart/2005/8/layout/cycle6"/>
    <dgm:cxn modelId="{ECFD7229-64CB-4277-A134-C23AC6AE60EE}" type="presParOf" srcId="{69CA5CD5-4D9D-4C82-8FBE-3E57BE6D65FC}" destId="{B2EF9079-7CD5-4F9F-809B-D2160F6234F9}" srcOrd="2" destOrd="0" presId="urn:microsoft.com/office/officeart/2005/8/layout/cycle6"/>
    <dgm:cxn modelId="{93588ADF-CC4C-4088-AFAC-B4C09E1624FA}" type="presParOf" srcId="{69CA5CD5-4D9D-4C82-8FBE-3E57BE6D65FC}" destId="{ABDA7CE6-9556-468E-983E-5376D898872E}" srcOrd="3" destOrd="0" presId="urn:microsoft.com/office/officeart/2005/8/layout/cycle6"/>
    <dgm:cxn modelId="{8A3EBA7D-F775-43AB-BE0B-97A7520C519D}" type="presParOf" srcId="{69CA5CD5-4D9D-4C82-8FBE-3E57BE6D65FC}" destId="{059F27E5-ACCB-4638-B8ED-7BDF2244AD50}" srcOrd="4" destOrd="0" presId="urn:microsoft.com/office/officeart/2005/8/layout/cycle6"/>
    <dgm:cxn modelId="{67E4EC2F-1E7E-4D12-8A9F-3BFC0759226E}" type="presParOf" srcId="{69CA5CD5-4D9D-4C82-8FBE-3E57BE6D65FC}" destId="{14F2D2E0-13DB-4DEC-BCEA-04BEC0616FAE}" srcOrd="5" destOrd="0" presId="urn:microsoft.com/office/officeart/2005/8/layout/cycle6"/>
    <dgm:cxn modelId="{DB5B4AB2-D91E-404A-B353-580B81C1DE73}" type="presParOf" srcId="{69CA5CD5-4D9D-4C82-8FBE-3E57BE6D65FC}" destId="{69DF8742-D8DE-4609-93F2-033368B7095E}" srcOrd="6" destOrd="0" presId="urn:microsoft.com/office/officeart/2005/8/layout/cycle6"/>
    <dgm:cxn modelId="{D5271D3F-CD00-4BD2-AF07-A150448F70DB}" type="presParOf" srcId="{69CA5CD5-4D9D-4C82-8FBE-3E57BE6D65FC}" destId="{BDDE61F7-321D-4CE8-AE0C-9316BE06DAD7}" srcOrd="7" destOrd="0" presId="urn:microsoft.com/office/officeart/2005/8/layout/cycle6"/>
    <dgm:cxn modelId="{36BD1235-BE9A-4A2D-BAAA-609A0C08B005}" type="presParOf" srcId="{69CA5CD5-4D9D-4C82-8FBE-3E57BE6D65FC}" destId="{76CA1D28-5C43-444D-B068-60033A4020B5}" srcOrd="8" destOrd="0" presId="urn:microsoft.com/office/officeart/2005/8/layout/cycle6"/>
    <dgm:cxn modelId="{789FC9D6-8CE8-4EEB-9CD7-2C6A3CE9FF87}" type="presParOf" srcId="{69CA5CD5-4D9D-4C82-8FBE-3E57BE6D65FC}" destId="{F127F51F-0076-4185-93D5-5D45FDE350AC}" srcOrd="9" destOrd="0" presId="urn:microsoft.com/office/officeart/2005/8/layout/cycle6"/>
    <dgm:cxn modelId="{57D6BBF8-53AA-4EB4-92F8-F1A1EF8AFF65}" type="presParOf" srcId="{69CA5CD5-4D9D-4C82-8FBE-3E57BE6D65FC}" destId="{EF142C4D-99A5-4F11-928A-4C2BFDCC9A6C}" srcOrd="10" destOrd="0" presId="urn:microsoft.com/office/officeart/2005/8/layout/cycle6"/>
    <dgm:cxn modelId="{4CA87C95-E866-4898-B6B7-566CF98AF799}" type="presParOf" srcId="{69CA5CD5-4D9D-4C82-8FBE-3E57BE6D65FC}" destId="{453E69E0-4C27-45D6-B555-BB74D4628FB7}" srcOrd="11" destOrd="0" presId="urn:microsoft.com/office/officeart/2005/8/layout/cycle6"/>
    <dgm:cxn modelId="{6A4F2997-93FA-4F4A-988A-3405C950A956}" type="presParOf" srcId="{69CA5CD5-4D9D-4C82-8FBE-3E57BE6D65FC}" destId="{0BA23F83-7DFF-4D8D-A639-6898E85BCD4A}" srcOrd="12" destOrd="0" presId="urn:microsoft.com/office/officeart/2005/8/layout/cycle6"/>
    <dgm:cxn modelId="{95562CB1-1C63-44E6-8124-E7ADAC8BAA44}" type="presParOf" srcId="{69CA5CD5-4D9D-4C82-8FBE-3E57BE6D65FC}" destId="{1B30F4DE-2552-46FC-846F-C555941A7670}" srcOrd="13" destOrd="0" presId="urn:microsoft.com/office/officeart/2005/8/layout/cycle6"/>
    <dgm:cxn modelId="{C1C4BDC8-5DB5-4698-8FBF-443A807DA028}" type="presParOf" srcId="{69CA5CD5-4D9D-4C82-8FBE-3E57BE6D65FC}" destId="{FC1FED21-9043-4F3D-AE36-A1D9804C7CCE}" srcOrd="14"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4730DC1-FA13-46E0-9621-CDE7B2610284}" type="doc">
      <dgm:prSet loTypeId="urn:microsoft.com/office/officeart/2005/8/layout/process4" loCatId="process" qsTypeId="urn:microsoft.com/office/officeart/2005/8/quickstyle/simple1" qsCatId="simple" csTypeId="urn:microsoft.com/office/officeart/2005/8/colors/accent1_2" csCatId="accent1" phldr="1"/>
      <dgm:spPr/>
      <dgm:t>
        <a:bodyPr/>
        <a:lstStyle/>
        <a:p>
          <a:endParaRPr lang="en-US"/>
        </a:p>
      </dgm:t>
    </dgm:pt>
    <dgm:pt modelId="{B7A71D21-854F-4D1E-BCC5-A3866047352D}">
      <dgm:prSet phldrT="[Text]"/>
      <dgm:spPr/>
      <dgm:t>
        <a:bodyPr/>
        <a:lstStyle/>
        <a:p>
          <a:r>
            <a:rPr lang="en-CH" dirty="0"/>
            <a:t>Priorisation des produits et orientation</a:t>
          </a:r>
          <a:endParaRPr lang="en-US" dirty="0"/>
        </a:p>
      </dgm:t>
    </dgm:pt>
    <dgm:pt modelId="{1B1D2068-B89B-4848-A974-605A3CFFA201}" type="parTrans" cxnId="{1CFD1564-515A-42D0-BE82-9B7798DB6E21}">
      <dgm:prSet/>
      <dgm:spPr/>
      <dgm:t>
        <a:bodyPr/>
        <a:lstStyle/>
        <a:p>
          <a:endParaRPr lang="en-US"/>
        </a:p>
      </dgm:t>
    </dgm:pt>
    <dgm:pt modelId="{7F037BE8-7CEA-4BDD-BFBD-06FFBCCBC54B}" type="sibTrans" cxnId="{1CFD1564-515A-42D0-BE82-9B7798DB6E21}">
      <dgm:prSet/>
      <dgm:spPr/>
      <dgm:t>
        <a:bodyPr/>
        <a:lstStyle/>
        <a:p>
          <a:endParaRPr lang="en-US"/>
        </a:p>
      </dgm:t>
    </dgm:pt>
    <dgm:pt modelId="{39730B0A-6531-4708-B33E-D6D95827F03F}">
      <dgm:prSet phldrT="[Text]"/>
      <dgm:spPr/>
      <dgm:t>
        <a:bodyPr/>
        <a:lstStyle/>
        <a:p>
          <a:r>
            <a:rPr lang="en-CH" dirty="0"/>
            <a:t>Processus : consolider les informations sur l'épidémiologie locale, la charge de morbidité, les formulaires actuels et les besoins non satisfaits afin de faciliter la hiérarchisation et l'élaboration de lignes directrices.</a:t>
          </a:r>
          <a:endParaRPr lang="en-US" dirty="0"/>
        </a:p>
      </dgm:t>
    </dgm:pt>
    <dgm:pt modelId="{C8D0AE31-57B1-4F5F-98DE-748845C6A027}" type="parTrans" cxnId="{90B66B1B-157C-465D-8FE2-9E62E5901FBB}">
      <dgm:prSet/>
      <dgm:spPr/>
      <dgm:t>
        <a:bodyPr/>
        <a:lstStyle/>
        <a:p>
          <a:endParaRPr lang="en-US"/>
        </a:p>
      </dgm:t>
    </dgm:pt>
    <dgm:pt modelId="{03564948-BDF2-4D95-8019-5FB9ECB3C7E0}" type="sibTrans" cxnId="{90B66B1B-157C-465D-8FE2-9E62E5901FBB}">
      <dgm:prSet/>
      <dgm:spPr/>
      <dgm:t>
        <a:bodyPr/>
        <a:lstStyle/>
        <a:p>
          <a:endParaRPr lang="en-US"/>
        </a:p>
      </dgm:t>
    </dgm:pt>
    <dgm:pt modelId="{103CEFF6-F3AC-4DAB-9F3A-F5F1A23A83AD}">
      <dgm:prSet phldrT="[Text]"/>
      <dgm:spPr/>
      <dgm:t>
        <a:bodyPr/>
        <a:lstStyle/>
        <a:p>
          <a:r>
            <a:rPr lang="en-CH" dirty="0"/>
            <a:t>Parties prenantes : ministère de la Santé, experts en maladies infectieuses, groupes de patients, autorités réglementaires nationales</a:t>
          </a:r>
          <a:endParaRPr lang="en-US" dirty="0"/>
        </a:p>
      </dgm:t>
    </dgm:pt>
    <dgm:pt modelId="{D0FE5F3E-7182-424C-95D2-9C28DFEADB3B}" type="parTrans" cxnId="{FDDE5725-5F05-47A6-8CA1-19F15DD1D694}">
      <dgm:prSet/>
      <dgm:spPr/>
      <dgm:t>
        <a:bodyPr/>
        <a:lstStyle/>
        <a:p>
          <a:endParaRPr lang="en-US"/>
        </a:p>
      </dgm:t>
    </dgm:pt>
    <dgm:pt modelId="{B6780CDB-F01D-4FE2-9761-ABB5A002B599}" type="sibTrans" cxnId="{FDDE5725-5F05-47A6-8CA1-19F15DD1D694}">
      <dgm:prSet/>
      <dgm:spPr/>
      <dgm:t>
        <a:bodyPr/>
        <a:lstStyle/>
        <a:p>
          <a:endParaRPr lang="en-US"/>
        </a:p>
      </dgm:t>
    </dgm:pt>
    <dgm:pt modelId="{E1FA3B09-813A-4FD3-A2E5-782162C08D10}">
      <dgm:prSet phldrT="[Text]"/>
      <dgm:spPr/>
      <dgm:t>
        <a:bodyPr/>
        <a:lstStyle/>
        <a:p>
          <a:r>
            <a:rPr lang="en-CH"/>
            <a:t>Enregistrement</a:t>
          </a:r>
          <a:endParaRPr lang="en-US"/>
        </a:p>
      </dgm:t>
    </dgm:pt>
    <dgm:pt modelId="{D1A980FA-91A9-4B24-9336-F274C0D31B76}" type="parTrans" cxnId="{41B518C9-6609-498C-ADC9-A9D25669941C}">
      <dgm:prSet/>
      <dgm:spPr/>
      <dgm:t>
        <a:bodyPr/>
        <a:lstStyle/>
        <a:p>
          <a:endParaRPr lang="en-US"/>
        </a:p>
      </dgm:t>
    </dgm:pt>
    <dgm:pt modelId="{D528CC30-FB56-4AAF-A79C-DE344E23A10E}" type="sibTrans" cxnId="{41B518C9-6609-498C-ADC9-A9D25669941C}">
      <dgm:prSet/>
      <dgm:spPr/>
      <dgm:t>
        <a:bodyPr/>
        <a:lstStyle/>
        <a:p>
          <a:endParaRPr lang="en-US"/>
        </a:p>
      </dgm:t>
    </dgm:pt>
    <dgm:pt modelId="{6DD5D6A9-81F3-4F3E-89A7-67793D05FD19}">
      <dgm:prSet phldrT="[Text]"/>
      <dgm:spPr/>
      <dgm:t>
        <a:bodyPr/>
        <a:lstStyle/>
        <a:p>
          <a:r>
            <a:rPr lang="en-CH" dirty="0"/>
            <a:t>Processus : prise de décision conjointe entre le ministère de la Santé et les autorités réglementaires nationales afin de relier les produits prioritaires à des procédures d'enregistrement accélérées, le ministère de la Santé aide les autorités réglementaires nationales à créer des étiquettes d'utilisation limitée. </a:t>
          </a:r>
          <a:endParaRPr lang="en-US" dirty="0"/>
        </a:p>
      </dgm:t>
    </dgm:pt>
    <dgm:pt modelId="{AFF6BAC4-5D9B-445E-82DA-AC1A8B8E1962}" type="parTrans" cxnId="{9ED5CB8B-AEA1-4D0F-83EF-99501DE14DE9}">
      <dgm:prSet/>
      <dgm:spPr/>
      <dgm:t>
        <a:bodyPr/>
        <a:lstStyle/>
        <a:p>
          <a:endParaRPr lang="en-US"/>
        </a:p>
      </dgm:t>
    </dgm:pt>
    <dgm:pt modelId="{A4BFAAED-7E17-42A3-8F66-429B9276911A}" type="sibTrans" cxnId="{9ED5CB8B-AEA1-4D0F-83EF-99501DE14DE9}">
      <dgm:prSet/>
      <dgm:spPr/>
      <dgm:t>
        <a:bodyPr/>
        <a:lstStyle/>
        <a:p>
          <a:endParaRPr lang="en-US"/>
        </a:p>
      </dgm:t>
    </dgm:pt>
    <dgm:pt modelId="{936A847B-7482-4FD1-8E65-BF5DFAF5451D}">
      <dgm:prSet phldrT="[Text]"/>
      <dgm:spPr/>
      <dgm:t>
        <a:bodyPr/>
        <a:lstStyle/>
        <a:p>
          <a:r>
            <a:rPr lang="en-CH"/>
            <a:t>Parties prenantes : Ministère de la Santé, autorités réglementaires nationales</a:t>
          </a:r>
          <a:endParaRPr lang="en-US"/>
        </a:p>
      </dgm:t>
    </dgm:pt>
    <dgm:pt modelId="{5D522E70-4E7B-4782-B76B-E0389FFC18E6}" type="parTrans" cxnId="{10271817-D40B-4063-AD6F-C09762916BF1}">
      <dgm:prSet/>
      <dgm:spPr/>
      <dgm:t>
        <a:bodyPr/>
        <a:lstStyle/>
        <a:p>
          <a:endParaRPr lang="en-US"/>
        </a:p>
      </dgm:t>
    </dgm:pt>
    <dgm:pt modelId="{ADD11AB8-9186-4BD0-9C47-888AFB9E197F}" type="sibTrans" cxnId="{10271817-D40B-4063-AD6F-C09762916BF1}">
      <dgm:prSet/>
      <dgm:spPr/>
      <dgm:t>
        <a:bodyPr/>
        <a:lstStyle/>
        <a:p>
          <a:endParaRPr lang="en-US"/>
        </a:p>
      </dgm:t>
    </dgm:pt>
    <dgm:pt modelId="{1E4C6B4D-0268-4D01-8AF9-3010966B1C63}">
      <dgm:prSet phldrT="[Text]"/>
      <dgm:spPr/>
      <dgm:t>
        <a:bodyPr/>
        <a:lstStyle/>
        <a:p>
          <a:r>
            <a:rPr lang="en-CH"/>
            <a:t>Cibler la disponibilité vers les établissements appropriés</a:t>
          </a:r>
          <a:endParaRPr lang="en-US"/>
        </a:p>
      </dgm:t>
    </dgm:pt>
    <dgm:pt modelId="{4DD2578C-60A5-4BD5-BD96-E705058AD3A2}" type="parTrans" cxnId="{FFF2AB1E-7055-4055-AF64-EF28869A6274}">
      <dgm:prSet/>
      <dgm:spPr/>
      <dgm:t>
        <a:bodyPr/>
        <a:lstStyle/>
        <a:p>
          <a:endParaRPr lang="en-US"/>
        </a:p>
      </dgm:t>
    </dgm:pt>
    <dgm:pt modelId="{28B5A8FB-9E4C-4972-980F-F6BAF215628A}" type="sibTrans" cxnId="{FFF2AB1E-7055-4055-AF64-EF28869A6274}">
      <dgm:prSet/>
      <dgm:spPr/>
      <dgm:t>
        <a:bodyPr/>
        <a:lstStyle/>
        <a:p>
          <a:endParaRPr lang="en-US"/>
        </a:p>
      </dgm:t>
    </dgm:pt>
    <dgm:pt modelId="{36600F2C-14F2-4BC0-AB4D-5DFC2332A802}">
      <dgm:prSet phldrT="[Text]"/>
      <dgm:spPr/>
      <dgm:t>
        <a:bodyPr/>
        <a:lstStyle/>
        <a:p>
          <a:r>
            <a:rPr lang="en-CH"/>
            <a:t>Processus : identification des centres et des antennes associées (les critères d'évaluation des établissements visés pour l'accès aux antibiotiques ci-dessus peuvent être utilisés), conception des processus de circulation de l'information et de transfert des produits, estimation du coût de ces processus </a:t>
          </a:r>
          <a:endParaRPr lang="en-US"/>
        </a:p>
      </dgm:t>
    </dgm:pt>
    <dgm:pt modelId="{6E7EF95E-C2AC-46E0-9240-328B3E7183E9}" type="parTrans" cxnId="{65D551A2-2B85-4B32-9708-0126F6278F3E}">
      <dgm:prSet/>
      <dgm:spPr/>
      <dgm:t>
        <a:bodyPr/>
        <a:lstStyle/>
        <a:p>
          <a:endParaRPr lang="en-US"/>
        </a:p>
      </dgm:t>
    </dgm:pt>
    <dgm:pt modelId="{6BEEF323-82BD-4E49-9972-7EA842B4B944}" type="sibTrans" cxnId="{65D551A2-2B85-4B32-9708-0126F6278F3E}">
      <dgm:prSet/>
      <dgm:spPr/>
      <dgm:t>
        <a:bodyPr/>
        <a:lstStyle/>
        <a:p>
          <a:endParaRPr lang="en-US"/>
        </a:p>
      </dgm:t>
    </dgm:pt>
    <dgm:pt modelId="{BFD61C05-9495-48CC-B437-DF1A52DFA04A}">
      <dgm:prSet phldrT="[Text]"/>
      <dgm:spPr/>
      <dgm:t>
        <a:bodyPr/>
        <a:lstStyle/>
        <a:p>
          <a:r>
            <a:rPr lang="en-CH"/>
            <a:t>Parties prenantes : Direction des établissements et du système de santé, personnel informatique, logistique et achats </a:t>
          </a:r>
          <a:endParaRPr lang="en-US"/>
        </a:p>
      </dgm:t>
    </dgm:pt>
    <dgm:pt modelId="{AA02688F-6F09-484F-9CDD-4DA3D145E6BB}" type="parTrans" cxnId="{65CF5987-4EBB-431A-8B2C-A78D43543FB4}">
      <dgm:prSet/>
      <dgm:spPr/>
      <dgm:t>
        <a:bodyPr/>
        <a:lstStyle/>
        <a:p>
          <a:endParaRPr lang="en-US"/>
        </a:p>
      </dgm:t>
    </dgm:pt>
    <dgm:pt modelId="{241F7B7C-BCE8-47F7-986B-CBA3E2103F84}" type="sibTrans" cxnId="{65CF5987-4EBB-431A-8B2C-A78D43543FB4}">
      <dgm:prSet/>
      <dgm:spPr/>
      <dgm:t>
        <a:bodyPr/>
        <a:lstStyle/>
        <a:p>
          <a:endParaRPr lang="en-US"/>
        </a:p>
      </dgm:t>
    </dgm:pt>
    <dgm:pt modelId="{C60C7D16-35FF-4B56-B24F-7FC17B15CEF8}">
      <dgm:prSet phldrT="[Text]"/>
      <dgm:spPr/>
      <dgm:t>
        <a:bodyPr/>
        <a:lstStyle/>
        <a:p>
          <a:r>
            <a:rPr lang="en-CH"/>
            <a:t>Gestion au niveau des établissements</a:t>
          </a:r>
          <a:endParaRPr lang="en-US"/>
        </a:p>
      </dgm:t>
    </dgm:pt>
    <dgm:pt modelId="{052BECBB-9863-4649-924B-717DFE61B3D4}" type="parTrans" cxnId="{EE582E4A-1D0B-41A0-B41D-4E2854411BD0}">
      <dgm:prSet/>
      <dgm:spPr/>
      <dgm:t>
        <a:bodyPr/>
        <a:lstStyle/>
        <a:p>
          <a:endParaRPr lang="en-US"/>
        </a:p>
      </dgm:t>
    </dgm:pt>
    <dgm:pt modelId="{CF666A48-F3FE-4B2D-A1FC-4F8D6311B252}" type="sibTrans" cxnId="{EE582E4A-1D0B-41A0-B41D-4E2854411BD0}">
      <dgm:prSet/>
      <dgm:spPr/>
      <dgm:t>
        <a:bodyPr/>
        <a:lstStyle/>
        <a:p>
          <a:endParaRPr lang="en-US"/>
        </a:p>
      </dgm:t>
    </dgm:pt>
    <dgm:pt modelId="{F40A67E0-7E95-443D-A5CE-288B8831B336}">
      <dgm:prSet phldrT="[Text]"/>
      <dgm:spPr/>
      <dgm:t>
        <a:bodyPr/>
        <a:lstStyle/>
        <a:p>
          <a:r>
            <a:rPr lang="en-CH"/>
            <a:t>Processus : critères d'accès ou niveau de l'établissement pour l'accès aux antibiotiques de réserve convenus, établissements évalués selon ces critères, niveau de l'établissement ou approbation sur la base des critères inclus dans les directives et le remboursement</a:t>
          </a:r>
          <a:endParaRPr lang="en-US"/>
        </a:p>
      </dgm:t>
    </dgm:pt>
    <dgm:pt modelId="{04FC8C4F-DC87-43A1-9C47-31E8764A9140}" type="parTrans" cxnId="{99497F5D-E7A6-4BC6-976F-49C5EBC8DF5D}">
      <dgm:prSet/>
      <dgm:spPr/>
      <dgm:t>
        <a:bodyPr/>
        <a:lstStyle/>
        <a:p>
          <a:endParaRPr lang="en-US"/>
        </a:p>
      </dgm:t>
    </dgm:pt>
    <dgm:pt modelId="{8611F56D-3BB4-4186-A099-FCDF88613C2A}" type="sibTrans" cxnId="{99497F5D-E7A6-4BC6-976F-49C5EBC8DF5D}">
      <dgm:prSet/>
      <dgm:spPr/>
      <dgm:t>
        <a:bodyPr/>
        <a:lstStyle/>
        <a:p>
          <a:endParaRPr lang="en-US"/>
        </a:p>
      </dgm:t>
    </dgm:pt>
    <dgm:pt modelId="{E4CB4061-548E-4FCA-9C99-15B4C406E99A}">
      <dgm:prSet phldrT="[Text]"/>
      <dgm:spPr/>
      <dgm:t>
        <a:bodyPr/>
        <a:lstStyle/>
        <a:p>
          <a:r>
            <a:rPr lang="en-CH"/>
            <a:t>Parties prenantes : ministère de la Santé, représentants des systèmes de santé privés, des programmes d'assurance et des programmes nationaux de prestations de santé, groupes de patients</a:t>
          </a:r>
          <a:endParaRPr lang="en-US"/>
        </a:p>
      </dgm:t>
    </dgm:pt>
    <dgm:pt modelId="{BB44F4FC-3B42-4149-A835-4B51DBCD1944}" type="parTrans" cxnId="{4C66843B-4970-4A5B-BA4A-2D7784169FA6}">
      <dgm:prSet/>
      <dgm:spPr/>
      <dgm:t>
        <a:bodyPr/>
        <a:lstStyle/>
        <a:p>
          <a:endParaRPr lang="en-US"/>
        </a:p>
      </dgm:t>
    </dgm:pt>
    <dgm:pt modelId="{62FB5BF2-9511-419A-B78A-E62FA261B7BC}" type="sibTrans" cxnId="{4C66843B-4970-4A5B-BA4A-2D7784169FA6}">
      <dgm:prSet/>
      <dgm:spPr/>
      <dgm:t>
        <a:bodyPr/>
        <a:lstStyle/>
        <a:p>
          <a:endParaRPr lang="en-US"/>
        </a:p>
      </dgm:t>
    </dgm:pt>
    <dgm:pt modelId="{1026DFE6-BF32-44BF-8021-E1D76565ABBA}">
      <dgm:prSet phldrT="[Text]"/>
      <dgm:spPr/>
      <dgm:t>
        <a:bodyPr/>
        <a:lstStyle/>
        <a:p>
          <a:r>
            <a:rPr lang="en-CH"/>
            <a:t>Une approche en réseau</a:t>
          </a:r>
          <a:endParaRPr lang="en-US"/>
        </a:p>
      </dgm:t>
    </dgm:pt>
    <dgm:pt modelId="{2756756A-C675-4D64-99E2-573F640A90E0}" type="parTrans" cxnId="{05E44483-107F-4728-B57A-716AC1DD0CEC}">
      <dgm:prSet/>
      <dgm:spPr/>
      <dgm:t>
        <a:bodyPr/>
        <a:lstStyle/>
        <a:p>
          <a:endParaRPr lang="en-US"/>
        </a:p>
      </dgm:t>
    </dgm:pt>
    <dgm:pt modelId="{C794402D-563E-4E8E-95B2-D5DC22B467F7}" type="sibTrans" cxnId="{05E44483-107F-4728-B57A-716AC1DD0CEC}">
      <dgm:prSet/>
      <dgm:spPr/>
      <dgm:t>
        <a:bodyPr/>
        <a:lstStyle/>
        <a:p>
          <a:endParaRPr lang="en-US"/>
        </a:p>
      </dgm:t>
    </dgm:pt>
    <dgm:pt modelId="{E63DCEA1-34D9-405A-93FC-6024BF85F3AC}">
      <dgm:prSet phldrT="[Text]"/>
      <dgm:spPr/>
      <dgm:t>
        <a:bodyPr/>
        <a:lstStyle/>
        <a:p>
          <a:r>
            <a:rPr lang="en-CH"/>
            <a:t>Processus : évaluation des pratiques actuelles de gestion, des ressources des établissements ciblés pour l'accès aux antibiotiques de réserve. Plan de renforcement de la gestion, comprenant soit un audit prospectif, soit une autorisation préalable, en envisageant l'inclusion du transfert de tâches </a:t>
          </a:r>
          <a:endParaRPr lang="en-US"/>
        </a:p>
      </dgm:t>
    </dgm:pt>
    <dgm:pt modelId="{602A1579-F397-4E72-8776-DED51BF9233C}" type="parTrans" cxnId="{4E2D59DC-BE8C-4932-B142-9B455C074858}">
      <dgm:prSet/>
      <dgm:spPr/>
      <dgm:t>
        <a:bodyPr/>
        <a:lstStyle/>
        <a:p>
          <a:endParaRPr lang="en-US"/>
        </a:p>
      </dgm:t>
    </dgm:pt>
    <dgm:pt modelId="{51D0B221-8F3C-4324-9FCF-39C3E1205306}" type="sibTrans" cxnId="{4E2D59DC-BE8C-4932-B142-9B455C074858}">
      <dgm:prSet/>
      <dgm:spPr/>
      <dgm:t>
        <a:bodyPr/>
        <a:lstStyle/>
        <a:p>
          <a:endParaRPr lang="en-US"/>
        </a:p>
      </dgm:t>
    </dgm:pt>
    <dgm:pt modelId="{16C06694-4E15-4781-BEC2-98DF44266B1F}">
      <dgm:prSet phldrT="[Text]"/>
      <dgm:spPr/>
      <dgm:t>
        <a:bodyPr/>
        <a:lstStyle/>
        <a:p>
          <a:r>
            <a:rPr lang="en-CH"/>
            <a:t>Parties prenantes : responsables des établissements, spécialistes des maladies infectieuses, pharmaciens et unités qui utilisent fréquemment les antibiotiques de réserve, organismes professionnels, parties prenantes chargées des politiques pertinentes en matière de transfert de tâches</a:t>
          </a:r>
          <a:endParaRPr lang="en-US"/>
        </a:p>
      </dgm:t>
    </dgm:pt>
    <dgm:pt modelId="{58CAF882-812B-4AFA-9C86-7A2EC74E7A76}" type="parTrans" cxnId="{C5721E74-D5E7-4BFF-A8B1-A8C1179C6FD6}">
      <dgm:prSet/>
      <dgm:spPr/>
      <dgm:t>
        <a:bodyPr/>
        <a:lstStyle/>
        <a:p>
          <a:endParaRPr lang="en-US"/>
        </a:p>
      </dgm:t>
    </dgm:pt>
    <dgm:pt modelId="{7B7E0CD8-6013-4C0F-83C3-8D17917FCE8C}" type="sibTrans" cxnId="{C5721E74-D5E7-4BFF-A8B1-A8C1179C6FD6}">
      <dgm:prSet/>
      <dgm:spPr/>
      <dgm:t>
        <a:bodyPr/>
        <a:lstStyle/>
        <a:p>
          <a:endParaRPr lang="en-US"/>
        </a:p>
      </dgm:t>
    </dgm:pt>
    <dgm:pt modelId="{FD6CAE0E-CBC2-44AF-AD6E-BF2DADE94EC3}" type="pres">
      <dgm:prSet presAssocID="{34730DC1-FA13-46E0-9621-CDE7B2610284}" presName="Name0" presStyleCnt="0">
        <dgm:presLayoutVars>
          <dgm:dir/>
          <dgm:animLvl val="lvl"/>
          <dgm:resizeHandles val="exact"/>
        </dgm:presLayoutVars>
      </dgm:prSet>
      <dgm:spPr/>
    </dgm:pt>
    <dgm:pt modelId="{279B046D-FF02-4053-B3C2-CC0A6EF6E3DC}" type="pres">
      <dgm:prSet presAssocID="{1026DFE6-BF32-44BF-8021-E1D76565ABBA}" presName="boxAndChildren" presStyleCnt="0"/>
      <dgm:spPr/>
    </dgm:pt>
    <dgm:pt modelId="{10DEA204-86F4-46B8-B732-46E943A8976C}" type="pres">
      <dgm:prSet presAssocID="{1026DFE6-BF32-44BF-8021-E1D76565ABBA}" presName="parentTextBox" presStyleLbl="node1" presStyleIdx="0" presStyleCnt="5"/>
      <dgm:spPr/>
    </dgm:pt>
    <dgm:pt modelId="{09FBA989-742F-47BE-A13C-E561853C6C70}" type="pres">
      <dgm:prSet presAssocID="{1026DFE6-BF32-44BF-8021-E1D76565ABBA}" presName="entireBox" presStyleLbl="node1" presStyleIdx="0" presStyleCnt="5"/>
      <dgm:spPr/>
    </dgm:pt>
    <dgm:pt modelId="{9B342BE5-2E9B-46B1-9E40-72931E506CDA}" type="pres">
      <dgm:prSet presAssocID="{1026DFE6-BF32-44BF-8021-E1D76565ABBA}" presName="descendantBox" presStyleCnt="0"/>
      <dgm:spPr/>
    </dgm:pt>
    <dgm:pt modelId="{D8E3A620-1333-4FE3-B66E-7503E5C7DA1D}" type="pres">
      <dgm:prSet presAssocID="{36600F2C-14F2-4BC0-AB4D-5DFC2332A802}" presName="childTextBox" presStyleLbl="fgAccFollowNode1" presStyleIdx="0" presStyleCnt="10">
        <dgm:presLayoutVars>
          <dgm:bulletEnabled val="1"/>
        </dgm:presLayoutVars>
      </dgm:prSet>
      <dgm:spPr/>
    </dgm:pt>
    <dgm:pt modelId="{60A0FDB2-D98B-4D6F-BBA0-86E7AC8FACA5}" type="pres">
      <dgm:prSet presAssocID="{BFD61C05-9495-48CC-B437-DF1A52DFA04A}" presName="childTextBox" presStyleLbl="fgAccFollowNode1" presStyleIdx="1" presStyleCnt="10">
        <dgm:presLayoutVars>
          <dgm:bulletEnabled val="1"/>
        </dgm:presLayoutVars>
      </dgm:prSet>
      <dgm:spPr/>
    </dgm:pt>
    <dgm:pt modelId="{49DBF3CC-0C73-4072-8559-56D9A06C65C8}" type="pres">
      <dgm:prSet presAssocID="{CF666A48-F3FE-4B2D-A1FC-4F8D6311B252}" presName="sp" presStyleCnt="0"/>
      <dgm:spPr/>
    </dgm:pt>
    <dgm:pt modelId="{6DA63F70-BE0D-4198-AB17-9F3A97A74E15}" type="pres">
      <dgm:prSet presAssocID="{C60C7D16-35FF-4B56-B24F-7FC17B15CEF8}" presName="arrowAndChildren" presStyleCnt="0"/>
      <dgm:spPr/>
    </dgm:pt>
    <dgm:pt modelId="{891FFFC6-17E0-482B-9805-D4F8860F468C}" type="pres">
      <dgm:prSet presAssocID="{C60C7D16-35FF-4B56-B24F-7FC17B15CEF8}" presName="parentTextArrow" presStyleLbl="node1" presStyleIdx="0" presStyleCnt="5"/>
      <dgm:spPr/>
    </dgm:pt>
    <dgm:pt modelId="{B2CD80A8-D82F-4044-BE38-B008CE797175}" type="pres">
      <dgm:prSet presAssocID="{C60C7D16-35FF-4B56-B24F-7FC17B15CEF8}" presName="arrow" presStyleLbl="node1" presStyleIdx="1" presStyleCnt="5"/>
      <dgm:spPr/>
    </dgm:pt>
    <dgm:pt modelId="{932CC496-AD80-420B-BC34-100A2D12E9F3}" type="pres">
      <dgm:prSet presAssocID="{C60C7D16-35FF-4B56-B24F-7FC17B15CEF8}" presName="descendantArrow" presStyleCnt="0"/>
      <dgm:spPr/>
    </dgm:pt>
    <dgm:pt modelId="{47547DD3-3B66-431D-B090-45447DF14D64}" type="pres">
      <dgm:prSet presAssocID="{E63DCEA1-34D9-405A-93FC-6024BF85F3AC}" presName="childTextArrow" presStyleLbl="fgAccFollowNode1" presStyleIdx="2" presStyleCnt="10">
        <dgm:presLayoutVars>
          <dgm:bulletEnabled val="1"/>
        </dgm:presLayoutVars>
      </dgm:prSet>
      <dgm:spPr/>
    </dgm:pt>
    <dgm:pt modelId="{7E2D221D-E3FD-4386-B30A-3F0485B67D55}" type="pres">
      <dgm:prSet presAssocID="{16C06694-4E15-4781-BEC2-98DF44266B1F}" presName="childTextArrow" presStyleLbl="fgAccFollowNode1" presStyleIdx="3" presStyleCnt="10">
        <dgm:presLayoutVars>
          <dgm:bulletEnabled val="1"/>
        </dgm:presLayoutVars>
      </dgm:prSet>
      <dgm:spPr/>
    </dgm:pt>
    <dgm:pt modelId="{1E8C7F19-CFC5-4B16-B190-92B9E65277C3}" type="pres">
      <dgm:prSet presAssocID="{28B5A8FB-9E4C-4972-980F-F6BAF215628A}" presName="sp" presStyleCnt="0"/>
      <dgm:spPr/>
    </dgm:pt>
    <dgm:pt modelId="{B247E5CA-9F65-44A1-91A6-858B5D60393A}" type="pres">
      <dgm:prSet presAssocID="{1E4C6B4D-0268-4D01-8AF9-3010966B1C63}" presName="arrowAndChildren" presStyleCnt="0"/>
      <dgm:spPr/>
    </dgm:pt>
    <dgm:pt modelId="{BBB4D550-6FD3-40E7-9E75-7AD3A571022B}" type="pres">
      <dgm:prSet presAssocID="{1E4C6B4D-0268-4D01-8AF9-3010966B1C63}" presName="parentTextArrow" presStyleLbl="node1" presStyleIdx="1" presStyleCnt="5"/>
      <dgm:spPr/>
    </dgm:pt>
    <dgm:pt modelId="{CEAD9392-1E1C-4FC1-AC49-21589408649B}" type="pres">
      <dgm:prSet presAssocID="{1E4C6B4D-0268-4D01-8AF9-3010966B1C63}" presName="arrow" presStyleLbl="node1" presStyleIdx="2" presStyleCnt="5"/>
      <dgm:spPr/>
    </dgm:pt>
    <dgm:pt modelId="{5AD75346-7D90-4664-A6B1-D9A4FB978889}" type="pres">
      <dgm:prSet presAssocID="{1E4C6B4D-0268-4D01-8AF9-3010966B1C63}" presName="descendantArrow" presStyleCnt="0"/>
      <dgm:spPr/>
    </dgm:pt>
    <dgm:pt modelId="{05ACEDE5-3AE9-46EE-B532-B691C988AA28}" type="pres">
      <dgm:prSet presAssocID="{F40A67E0-7E95-443D-A5CE-288B8831B336}" presName="childTextArrow" presStyleLbl="fgAccFollowNode1" presStyleIdx="4" presStyleCnt="10">
        <dgm:presLayoutVars>
          <dgm:bulletEnabled val="1"/>
        </dgm:presLayoutVars>
      </dgm:prSet>
      <dgm:spPr/>
    </dgm:pt>
    <dgm:pt modelId="{DE17F938-CB53-4989-B6B3-B26770AA1502}" type="pres">
      <dgm:prSet presAssocID="{E4CB4061-548E-4FCA-9C99-15B4C406E99A}" presName="childTextArrow" presStyleLbl="fgAccFollowNode1" presStyleIdx="5" presStyleCnt="10">
        <dgm:presLayoutVars>
          <dgm:bulletEnabled val="1"/>
        </dgm:presLayoutVars>
      </dgm:prSet>
      <dgm:spPr/>
    </dgm:pt>
    <dgm:pt modelId="{1D2896FE-1C07-4123-94F0-2231E7DA846A}" type="pres">
      <dgm:prSet presAssocID="{D528CC30-FB56-4AAF-A79C-DE344E23A10E}" presName="sp" presStyleCnt="0"/>
      <dgm:spPr/>
    </dgm:pt>
    <dgm:pt modelId="{732248CC-4F09-4E7F-8322-06392240FDF2}" type="pres">
      <dgm:prSet presAssocID="{E1FA3B09-813A-4FD3-A2E5-782162C08D10}" presName="arrowAndChildren" presStyleCnt="0"/>
      <dgm:spPr/>
    </dgm:pt>
    <dgm:pt modelId="{6F9156A4-1797-460E-9DBD-4A390CBC3A22}" type="pres">
      <dgm:prSet presAssocID="{E1FA3B09-813A-4FD3-A2E5-782162C08D10}" presName="parentTextArrow" presStyleLbl="node1" presStyleIdx="2" presStyleCnt="5"/>
      <dgm:spPr/>
    </dgm:pt>
    <dgm:pt modelId="{B3739BAE-4274-48C7-8072-66DDA0825629}" type="pres">
      <dgm:prSet presAssocID="{E1FA3B09-813A-4FD3-A2E5-782162C08D10}" presName="arrow" presStyleLbl="node1" presStyleIdx="3" presStyleCnt="5"/>
      <dgm:spPr/>
    </dgm:pt>
    <dgm:pt modelId="{81D81DAD-CF01-48CF-B93D-5F0D552F7B8E}" type="pres">
      <dgm:prSet presAssocID="{E1FA3B09-813A-4FD3-A2E5-782162C08D10}" presName="descendantArrow" presStyleCnt="0"/>
      <dgm:spPr/>
    </dgm:pt>
    <dgm:pt modelId="{38930926-D375-4295-AEDA-99AEBE3EE89C}" type="pres">
      <dgm:prSet presAssocID="{6DD5D6A9-81F3-4F3E-89A7-67793D05FD19}" presName="childTextArrow" presStyleLbl="fgAccFollowNode1" presStyleIdx="6" presStyleCnt="10">
        <dgm:presLayoutVars>
          <dgm:bulletEnabled val="1"/>
        </dgm:presLayoutVars>
      </dgm:prSet>
      <dgm:spPr/>
    </dgm:pt>
    <dgm:pt modelId="{E7E4A2A5-927E-4AA2-B081-0F1530E94665}" type="pres">
      <dgm:prSet presAssocID="{936A847B-7482-4FD1-8E65-BF5DFAF5451D}" presName="childTextArrow" presStyleLbl="fgAccFollowNode1" presStyleIdx="7" presStyleCnt="10">
        <dgm:presLayoutVars>
          <dgm:bulletEnabled val="1"/>
        </dgm:presLayoutVars>
      </dgm:prSet>
      <dgm:spPr/>
    </dgm:pt>
    <dgm:pt modelId="{095ADF6F-578F-4CED-9939-DC9BED550E5B}" type="pres">
      <dgm:prSet presAssocID="{7F037BE8-7CEA-4BDD-BFBD-06FFBCCBC54B}" presName="sp" presStyleCnt="0"/>
      <dgm:spPr/>
    </dgm:pt>
    <dgm:pt modelId="{70D4803A-F7A0-4A64-98B0-3739E9546E44}" type="pres">
      <dgm:prSet presAssocID="{B7A71D21-854F-4D1E-BCC5-A3866047352D}" presName="arrowAndChildren" presStyleCnt="0"/>
      <dgm:spPr/>
    </dgm:pt>
    <dgm:pt modelId="{DB2F1988-EB8A-4D50-842F-445681648558}" type="pres">
      <dgm:prSet presAssocID="{B7A71D21-854F-4D1E-BCC5-A3866047352D}" presName="parentTextArrow" presStyleLbl="node1" presStyleIdx="3" presStyleCnt="5"/>
      <dgm:spPr/>
    </dgm:pt>
    <dgm:pt modelId="{7AADF928-1218-4220-8877-DBCB06208513}" type="pres">
      <dgm:prSet presAssocID="{B7A71D21-854F-4D1E-BCC5-A3866047352D}" presName="arrow" presStyleLbl="node1" presStyleIdx="4" presStyleCnt="5"/>
      <dgm:spPr/>
    </dgm:pt>
    <dgm:pt modelId="{9B42C190-F935-413C-885E-9BFC4E9CBCFF}" type="pres">
      <dgm:prSet presAssocID="{B7A71D21-854F-4D1E-BCC5-A3866047352D}" presName="descendantArrow" presStyleCnt="0"/>
      <dgm:spPr/>
    </dgm:pt>
    <dgm:pt modelId="{ACE52AB6-E165-4DEE-8D60-309DE8E213BE}" type="pres">
      <dgm:prSet presAssocID="{39730B0A-6531-4708-B33E-D6D95827F03F}" presName="childTextArrow" presStyleLbl="fgAccFollowNode1" presStyleIdx="8" presStyleCnt="10">
        <dgm:presLayoutVars>
          <dgm:bulletEnabled val="1"/>
        </dgm:presLayoutVars>
      </dgm:prSet>
      <dgm:spPr/>
    </dgm:pt>
    <dgm:pt modelId="{93BF704C-D971-489D-864A-6B90E5BEFC8A}" type="pres">
      <dgm:prSet presAssocID="{103CEFF6-F3AC-4DAB-9F3A-F5F1A23A83AD}" presName="childTextArrow" presStyleLbl="fgAccFollowNode1" presStyleIdx="9" presStyleCnt="10">
        <dgm:presLayoutVars>
          <dgm:bulletEnabled val="1"/>
        </dgm:presLayoutVars>
      </dgm:prSet>
      <dgm:spPr/>
    </dgm:pt>
  </dgm:ptLst>
  <dgm:cxnLst>
    <dgm:cxn modelId="{10271817-D40B-4063-AD6F-C09762916BF1}" srcId="{E1FA3B09-813A-4FD3-A2E5-782162C08D10}" destId="{936A847B-7482-4FD1-8E65-BF5DFAF5451D}" srcOrd="1" destOrd="0" parTransId="{5D522E70-4E7B-4782-B76B-E0389FFC18E6}" sibTransId="{ADD11AB8-9186-4BD0-9C47-888AFB9E197F}"/>
    <dgm:cxn modelId="{90B66B1B-157C-465D-8FE2-9E62E5901FBB}" srcId="{B7A71D21-854F-4D1E-BCC5-A3866047352D}" destId="{39730B0A-6531-4708-B33E-D6D95827F03F}" srcOrd="0" destOrd="0" parTransId="{C8D0AE31-57B1-4F5F-98DE-748845C6A027}" sibTransId="{03564948-BDF2-4D95-8019-5FB9ECB3C7E0}"/>
    <dgm:cxn modelId="{FFF2AB1E-7055-4055-AF64-EF28869A6274}" srcId="{34730DC1-FA13-46E0-9621-CDE7B2610284}" destId="{1E4C6B4D-0268-4D01-8AF9-3010966B1C63}" srcOrd="2" destOrd="0" parTransId="{4DD2578C-60A5-4BD5-BD96-E705058AD3A2}" sibTransId="{28B5A8FB-9E4C-4972-980F-F6BAF215628A}"/>
    <dgm:cxn modelId="{958BC921-789E-4084-BB98-4183B913EDFD}" type="presOf" srcId="{36600F2C-14F2-4BC0-AB4D-5DFC2332A802}" destId="{D8E3A620-1333-4FE3-B66E-7503E5C7DA1D}" srcOrd="0" destOrd="0" presId="urn:microsoft.com/office/officeart/2005/8/layout/process4"/>
    <dgm:cxn modelId="{FDDE5725-5F05-47A6-8CA1-19F15DD1D694}" srcId="{B7A71D21-854F-4D1E-BCC5-A3866047352D}" destId="{103CEFF6-F3AC-4DAB-9F3A-F5F1A23A83AD}" srcOrd="1" destOrd="0" parTransId="{D0FE5F3E-7182-424C-95D2-9C28DFEADB3B}" sibTransId="{B6780CDB-F01D-4FE2-9761-ABB5A002B599}"/>
    <dgm:cxn modelId="{664E1939-F103-47CF-8998-B44693D14A7A}" type="presOf" srcId="{1E4C6B4D-0268-4D01-8AF9-3010966B1C63}" destId="{BBB4D550-6FD3-40E7-9E75-7AD3A571022B}" srcOrd="0" destOrd="0" presId="urn:microsoft.com/office/officeart/2005/8/layout/process4"/>
    <dgm:cxn modelId="{4C66843B-4970-4A5B-BA4A-2D7784169FA6}" srcId="{1E4C6B4D-0268-4D01-8AF9-3010966B1C63}" destId="{E4CB4061-548E-4FCA-9C99-15B4C406E99A}" srcOrd="1" destOrd="0" parTransId="{BB44F4FC-3B42-4149-A835-4B51DBCD1944}" sibTransId="{62FB5BF2-9511-419A-B78A-E62FA261B7BC}"/>
    <dgm:cxn modelId="{BEAEA23B-18B8-4E3D-B4BB-804350DA6A53}" type="presOf" srcId="{E4CB4061-548E-4FCA-9C99-15B4C406E99A}" destId="{DE17F938-CB53-4989-B6B3-B26770AA1502}" srcOrd="0" destOrd="0" presId="urn:microsoft.com/office/officeart/2005/8/layout/process4"/>
    <dgm:cxn modelId="{99497F5D-E7A6-4BC6-976F-49C5EBC8DF5D}" srcId="{1E4C6B4D-0268-4D01-8AF9-3010966B1C63}" destId="{F40A67E0-7E95-443D-A5CE-288B8831B336}" srcOrd="0" destOrd="0" parTransId="{04FC8C4F-DC87-43A1-9C47-31E8764A9140}" sibTransId="{8611F56D-3BB4-4186-A099-FCDF88613C2A}"/>
    <dgm:cxn modelId="{1CFD1564-515A-42D0-BE82-9B7798DB6E21}" srcId="{34730DC1-FA13-46E0-9621-CDE7B2610284}" destId="{B7A71D21-854F-4D1E-BCC5-A3866047352D}" srcOrd="0" destOrd="0" parTransId="{1B1D2068-B89B-4848-A974-605A3CFFA201}" sibTransId="{7F037BE8-7CEA-4BDD-BFBD-06FFBCCBC54B}"/>
    <dgm:cxn modelId="{EE582E4A-1D0B-41A0-B41D-4E2854411BD0}" srcId="{34730DC1-FA13-46E0-9621-CDE7B2610284}" destId="{C60C7D16-35FF-4B56-B24F-7FC17B15CEF8}" srcOrd="3" destOrd="0" parTransId="{052BECBB-9863-4649-924B-717DFE61B3D4}" sibTransId="{CF666A48-F3FE-4B2D-A1FC-4F8D6311B252}"/>
    <dgm:cxn modelId="{49ECB76F-E54B-44FB-A336-C574CE5CEDED}" type="presOf" srcId="{B7A71D21-854F-4D1E-BCC5-A3866047352D}" destId="{7AADF928-1218-4220-8877-DBCB06208513}" srcOrd="1" destOrd="0" presId="urn:microsoft.com/office/officeart/2005/8/layout/process4"/>
    <dgm:cxn modelId="{8B9B4B70-F4A5-4F32-937D-CBF01B7BF46D}" type="presOf" srcId="{C60C7D16-35FF-4B56-B24F-7FC17B15CEF8}" destId="{891FFFC6-17E0-482B-9805-D4F8860F468C}" srcOrd="0" destOrd="0" presId="urn:microsoft.com/office/officeart/2005/8/layout/process4"/>
    <dgm:cxn modelId="{C5721E74-D5E7-4BFF-A8B1-A8C1179C6FD6}" srcId="{C60C7D16-35FF-4B56-B24F-7FC17B15CEF8}" destId="{16C06694-4E15-4781-BEC2-98DF44266B1F}" srcOrd="1" destOrd="0" parTransId="{58CAF882-812B-4AFA-9C86-7A2EC74E7A76}" sibTransId="{7B7E0CD8-6013-4C0F-83C3-8D17917FCE8C}"/>
    <dgm:cxn modelId="{3A73C775-EF13-4485-84D1-4811140BCE06}" type="presOf" srcId="{39730B0A-6531-4708-B33E-D6D95827F03F}" destId="{ACE52AB6-E165-4DEE-8D60-309DE8E213BE}" srcOrd="0" destOrd="0" presId="urn:microsoft.com/office/officeart/2005/8/layout/process4"/>
    <dgm:cxn modelId="{C66FED55-EBE5-4AD4-9C6C-1ADB9109920C}" type="presOf" srcId="{E1FA3B09-813A-4FD3-A2E5-782162C08D10}" destId="{B3739BAE-4274-48C7-8072-66DDA0825629}" srcOrd="1" destOrd="0" presId="urn:microsoft.com/office/officeart/2005/8/layout/process4"/>
    <dgm:cxn modelId="{2E15557F-18AD-4C5D-9D03-16CA6C183F23}" type="presOf" srcId="{1026DFE6-BF32-44BF-8021-E1D76565ABBA}" destId="{10DEA204-86F4-46B8-B732-46E943A8976C}" srcOrd="0" destOrd="0" presId="urn:microsoft.com/office/officeart/2005/8/layout/process4"/>
    <dgm:cxn modelId="{05E44483-107F-4728-B57A-716AC1DD0CEC}" srcId="{34730DC1-FA13-46E0-9621-CDE7B2610284}" destId="{1026DFE6-BF32-44BF-8021-E1D76565ABBA}" srcOrd="4" destOrd="0" parTransId="{2756756A-C675-4D64-99E2-573F640A90E0}" sibTransId="{C794402D-563E-4E8E-95B2-D5DC22B467F7}"/>
    <dgm:cxn modelId="{11463884-5B75-4B95-A198-4E91CF73145E}" type="presOf" srcId="{34730DC1-FA13-46E0-9621-CDE7B2610284}" destId="{FD6CAE0E-CBC2-44AF-AD6E-BF2DADE94EC3}" srcOrd="0" destOrd="0" presId="urn:microsoft.com/office/officeart/2005/8/layout/process4"/>
    <dgm:cxn modelId="{65CF5987-4EBB-431A-8B2C-A78D43543FB4}" srcId="{1026DFE6-BF32-44BF-8021-E1D76565ABBA}" destId="{BFD61C05-9495-48CC-B437-DF1A52DFA04A}" srcOrd="1" destOrd="0" parTransId="{AA02688F-6F09-484F-9CDD-4DA3D145E6BB}" sibTransId="{241F7B7C-BCE8-47F7-986B-CBA3E2103F84}"/>
    <dgm:cxn modelId="{9ED5CB8B-AEA1-4D0F-83EF-99501DE14DE9}" srcId="{E1FA3B09-813A-4FD3-A2E5-782162C08D10}" destId="{6DD5D6A9-81F3-4F3E-89A7-67793D05FD19}" srcOrd="0" destOrd="0" parTransId="{AFF6BAC4-5D9B-445E-82DA-AC1A8B8E1962}" sibTransId="{A4BFAAED-7E17-42A3-8F66-429B9276911A}"/>
    <dgm:cxn modelId="{F8A6BC98-910E-4EAE-9653-363331E6CA5A}" type="presOf" srcId="{103CEFF6-F3AC-4DAB-9F3A-F5F1A23A83AD}" destId="{93BF704C-D971-489D-864A-6B90E5BEFC8A}" srcOrd="0" destOrd="0" presId="urn:microsoft.com/office/officeart/2005/8/layout/process4"/>
    <dgm:cxn modelId="{D506179D-EF98-4E53-A29D-6EE04B1324DB}" type="presOf" srcId="{F40A67E0-7E95-443D-A5CE-288B8831B336}" destId="{05ACEDE5-3AE9-46EE-B532-B691C988AA28}" srcOrd="0" destOrd="0" presId="urn:microsoft.com/office/officeart/2005/8/layout/process4"/>
    <dgm:cxn modelId="{65D551A2-2B85-4B32-9708-0126F6278F3E}" srcId="{1026DFE6-BF32-44BF-8021-E1D76565ABBA}" destId="{36600F2C-14F2-4BC0-AB4D-5DFC2332A802}" srcOrd="0" destOrd="0" parTransId="{6E7EF95E-C2AC-46E0-9240-328B3E7183E9}" sibTransId="{6BEEF323-82BD-4E49-9972-7EA842B4B944}"/>
    <dgm:cxn modelId="{D66479AD-A20C-494B-8C4D-06DD8A899AF4}" type="presOf" srcId="{16C06694-4E15-4781-BEC2-98DF44266B1F}" destId="{7E2D221D-E3FD-4386-B30A-3F0485B67D55}" srcOrd="0" destOrd="0" presId="urn:microsoft.com/office/officeart/2005/8/layout/process4"/>
    <dgm:cxn modelId="{573635B0-815C-4AE1-BA70-ABC13B0B6779}" type="presOf" srcId="{C60C7D16-35FF-4B56-B24F-7FC17B15CEF8}" destId="{B2CD80A8-D82F-4044-BE38-B008CE797175}" srcOrd="1" destOrd="0" presId="urn:microsoft.com/office/officeart/2005/8/layout/process4"/>
    <dgm:cxn modelId="{B1F9D2B1-A71B-4F7E-BAD1-9579EB40C822}" type="presOf" srcId="{BFD61C05-9495-48CC-B437-DF1A52DFA04A}" destId="{60A0FDB2-D98B-4D6F-BBA0-86E7AC8FACA5}" srcOrd="0" destOrd="0" presId="urn:microsoft.com/office/officeart/2005/8/layout/process4"/>
    <dgm:cxn modelId="{7D8365B8-23ED-4503-B7AF-09E41123A2F2}" type="presOf" srcId="{936A847B-7482-4FD1-8E65-BF5DFAF5451D}" destId="{E7E4A2A5-927E-4AA2-B081-0F1530E94665}" srcOrd="0" destOrd="0" presId="urn:microsoft.com/office/officeart/2005/8/layout/process4"/>
    <dgm:cxn modelId="{DE86B8BE-0EA9-4077-8395-2CA1C75CC3D1}" type="presOf" srcId="{B7A71D21-854F-4D1E-BCC5-A3866047352D}" destId="{DB2F1988-EB8A-4D50-842F-445681648558}" srcOrd="0" destOrd="0" presId="urn:microsoft.com/office/officeart/2005/8/layout/process4"/>
    <dgm:cxn modelId="{CE4AAEC5-A9F7-4A61-A8D1-F030A81F1D01}" type="presOf" srcId="{E63DCEA1-34D9-405A-93FC-6024BF85F3AC}" destId="{47547DD3-3B66-431D-B090-45447DF14D64}" srcOrd="0" destOrd="0" presId="urn:microsoft.com/office/officeart/2005/8/layout/process4"/>
    <dgm:cxn modelId="{41B518C9-6609-498C-ADC9-A9D25669941C}" srcId="{34730DC1-FA13-46E0-9621-CDE7B2610284}" destId="{E1FA3B09-813A-4FD3-A2E5-782162C08D10}" srcOrd="1" destOrd="0" parTransId="{D1A980FA-91A9-4B24-9336-F274C0D31B76}" sibTransId="{D528CC30-FB56-4AAF-A79C-DE344E23A10E}"/>
    <dgm:cxn modelId="{C15D67CB-2227-4AA0-8F1F-0EB8088A2E25}" type="presOf" srcId="{6DD5D6A9-81F3-4F3E-89A7-67793D05FD19}" destId="{38930926-D375-4295-AEDA-99AEBE3EE89C}" srcOrd="0" destOrd="0" presId="urn:microsoft.com/office/officeart/2005/8/layout/process4"/>
    <dgm:cxn modelId="{098916DA-7E94-44EF-8D09-D18F2C68C7CE}" type="presOf" srcId="{E1FA3B09-813A-4FD3-A2E5-782162C08D10}" destId="{6F9156A4-1797-460E-9DBD-4A390CBC3A22}" srcOrd="0" destOrd="0" presId="urn:microsoft.com/office/officeart/2005/8/layout/process4"/>
    <dgm:cxn modelId="{4E2D59DC-BE8C-4932-B142-9B455C074858}" srcId="{C60C7D16-35FF-4B56-B24F-7FC17B15CEF8}" destId="{E63DCEA1-34D9-405A-93FC-6024BF85F3AC}" srcOrd="0" destOrd="0" parTransId="{602A1579-F397-4E72-8776-DED51BF9233C}" sibTransId="{51D0B221-8F3C-4324-9FCF-39C3E1205306}"/>
    <dgm:cxn modelId="{698E73E3-61CD-42FF-83BB-3D10B6262966}" type="presOf" srcId="{1026DFE6-BF32-44BF-8021-E1D76565ABBA}" destId="{09FBA989-742F-47BE-A13C-E561853C6C70}" srcOrd="1" destOrd="0" presId="urn:microsoft.com/office/officeart/2005/8/layout/process4"/>
    <dgm:cxn modelId="{1B0E62FE-C478-4812-81C3-AC7D5E83C8D9}" type="presOf" srcId="{1E4C6B4D-0268-4D01-8AF9-3010966B1C63}" destId="{CEAD9392-1E1C-4FC1-AC49-21589408649B}" srcOrd="1" destOrd="0" presId="urn:microsoft.com/office/officeart/2005/8/layout/process4"/>
    <dgm:cxn modelId="{F244B550-EB8F-4272-A764-95167944FCA0}" type="presParOf" srcId="{FD6CAE0E-CBC2-44AF-AD6E-BF2DADE94EC3}" destId="{279B046D-FF02-4053-B3C2-CC0A6EF6E3DC}" srcOrd="0" destOrd="0" presId="urn:microsoft.com/office/officeart/2005/8/layout/process4"/>
    <dgm:cxn modelId="{1F50C349-E9DE-4EB4-88EA-FDBA8254884A}" type="presParOf" srcId="{279B046D-FF02-4053-B3C2-CC0A6EF6E3DC}" destId="{10DEA204-86F4-46B8-B732-46E943A8976C}" srcOrd="0" destOrd="0" presId="urn:microsoft.com/office/officeart/2005/8/layout/process4"/>
    <dgm:cxn modelId="{1117077A-1DA5-48D9-BCFB-0EA4922B5480}" type="presParOf" srcId="{279B046D-FF02-4053-B3C2-CC0A6EF6E3DC}" destId="{09FBA989-742F-47BE-A13C-E561853C6C70}" srcOrd="1" destOrd="0" presId="urn:microsoft.com/office/officeart/2005/8/layout/process4"/>
    <dgm:cxn modelId="{952A1EF0-F685-4DB7-935B-358BE659180D}" type="presParOf" srcId="{279B046D-FF02-4053-B3C2-CC0A6EF6E3DC}" destId="{9B342BE5-2E9B-46B1-9E40-72931E506CDA}" srcOrd="2" destOrd="0" presId="urn:microsoft.com/office/officeart/2005/8/layout/process4"/>
    <dgm:cxn modelId="{AD692A21-8A0C-4AB2-BA6C-63A363F25B94}" type="presParOf" srcId="{9B342BE5-2E9B-46B1-9E40-72931E506CDA}" destId="{D8E3A620-1333-4FE3-B66E-7503E5C7DA1D}" srcOrd="0" destOrd="0" presId="urn:microsoft.com/office/officeart/2005/8/layout/process4"/>
    <dgm:cxn modelId="{9AFCE242-79A5-40B3-87F9-EB368429ED94}" type="presParOf" srcId="{9B342BE5-2E9B-46B1-9E40-72931E506CDA}" destId="{60A0FDB2-D98B-4D6F-BBA0-86E7AC8FACA5}" srcOrd="1" destOrd="0" presId="urn:microsoft.com/office/officeart/2005/8/layout/process4"/>
    <dgm:cxn modelId="{FF8F690D-1ABD-4EFF-9CB4-5C4402DACD39}" type="presParOf" srcId="{FD6CAE0E-CBC2-44AF-AD6E-BF2DADE94EC3}" destId="{49DBF3CC-0C73-4072-8559-56D9A06C65C8}" srcOrd="1" destOrd="0" presId="urn:microsoft.com/office/officeart/2005/8/layout/process4"/>
    <dgm:cxn modelId="{8049BDCD-5517-44C7-8B4D-9BA68190D3A8}" type="presParOf" srcId="{FD6CAE0E-CBC2-44AF-AD6E-BF2DADE94EC3}" destId="{6DA63F70-BE0D-4198-AB17-9F3A97A74E15}" srcOrd="2" destOrd="0" presId="urn:microsoft.com/office/officeart/2005/8/layout/process4"/>
    <dgm:cxn modelId="{289C04B6-07AD-46A0-BEB3-60AFD7471A2C}" type="presParOf" srcId="{6DA63F70-BE0D-4198-AB17-9F3A97A74E15}" destId="{891FFFC6-17E0-482B-9805-D4F8860F468C}" srcOrd="0" destOrd="0" presId="urn:microsoft.com/office/officeart/2005/8/layout/process4"/>
    <dgm:cxn modelId="{2B4298A6-EFC4-4802-9246-101B98421BF8}" type="presParOf" srcId="{6DA63F70-BE0D-4198-AB17-9F3A97A74E15}" destId="{B2CD80A8-D82F-4044-BE38-B008CE797175}" srcOrd="1" destOrd="0" presId="urn:microsoft.com/office/officeart/2005/8/layout/process4"/>
    <dgm:cxn modelId="{848CD4C4-A023-44D6-9385-C8DE7A49E7A3}" type="presParOf" srcId="{6DA63F70-BE0D-4198-AB17-9F3A97A74E15}" destId="{932CC496-AD80-420B-BC34-100A2D12E9F3}" srcOrd="2" destOrd="0" presId="urn:microsoft.com/office/officeart/2005/8/layout/process4"/>
    <dgm:cxn modelId="{343C6A48-D142-417B-8B02-A6E5756664CB}" type="presParOf" srcId="{932CC496-AD80-420B-BC34-100A2D12E9F3}" destId="{47547DD3-3B66-431D-B090-45447DF14D64}" srcOrd="0" destOrd="0" presId="urn:microsoft.com/office/officeart/2005/8/layout/process4"/>
    <dgm:cxn modelId="{440127AC-A79D-4801-B2A2-8DE7CBD1BDDE}" type="presParOf" srcId="{932CC496-AD80-420B-BC34-100A2D12E9F3}" destId="{7E2D221D-E3FD-4386-B30A-3F0485B67D55}" srcOrd="1" destOrd="0" presId="urn:microsoft.com/office/officeart/2005/8/layout/process4"/>
    <dgm:cxn modelId="{9A97FD6E-F948-46F0-8334-776F7B567DE8}" type="presParOf" srcId="{FD6CAE0E-CBC2-44AF-AD6E-BF2DADE94EC3}" destId="{1E8C7F19-CFC5-4B16-B190-92B9E65277C3}" srcOrd="3" destOrd="0" presId="urn:microsoft.com/office/officeart/2005/8/layout/process4"/>
    <dgm:cxn modelId="{BE7AB808-5229-418C-8B55-89B24076218E}" type="presParOf" srcId="{FD6CAE0E-CBC2-44AF-AD6E-BF2DADE94EC3}" destId="{B247E5CA-9F65-44A1-91A6-858B5D60393A}" srcOrd="4" destOrd="0" presId="urn:microsoft.com/office/officeart/2005/8/layout/process4"/>
    <dgm:cxn modelId="{62DB8B90-3604-4E6A-BBA1-0EA463E13474}" type="presParOf" srcId="{B247E5CA-9F65-44A1-91A6-858B5D60393A}" destId="{BBB4D550-6FD3-40E7-9E75-7AD3A571022B}" srcOrd="0" destOrd="0" presId="urn:microsoft.com/office/officeart/2005/8/layout/process4"/>
    <dgm:cxn modelId="{74332AB2-B2E7-4A2E-BF9F-AE0BAB5FC49A}" type="presParOf" srcId="{B247E5CA-9F65-44A1-91A6-858B5D60393A}" destId="{CEAD9392-1E1C-4FC1-AC49-21589408649B}" srcOrd="1" destOrd="0" presId="urn:microsoft.com/office/officeart/2005/8/layout/process4"/>
    <dgm:cxn modelId="{BF25D635-B623-4C5E-8D08-9B3DCA1608CC}" type="presParOf" srcId="{B247E5CA-9F65-44A1-91A6-858B5D60393A}" destId="{5AD75346-7D90-4664-A6B1-D9A4FB978889}" srcOrd="2" destOrd="0" presId="urn:microsoft.com/office/officeart/2005/8/layout/process4"/>
    <dgm:cxn modelId="{CBADA720-68D8-48AD-9A7B-7E5FA04A59C2}" type="presParOf" srcId="{5AD75346-7D90-4664-A6B1-D9A4FB978889}" destId="{05ACEDE5-3AE9-46EE-B532-B691C988AA28}" srcOrd="0" destOrd="0" presId="urn:microsoft.com/office/officeart/2005/8/layout/process4"/>
    <dgm:cxn modelId="{DBDD539F-CDF5-4384-92BB-7D7CC3E84507}" type="presParOf" srcId="{5AD75346-7D90-4664-A6B1-D9A4FB978889}" destId="{DE17F938-CB53-4989-B6B3-B26770AA1502}" srcOrd="1" destOrd="0" presId="urn:microsoft.com/office/officeart/2005/8/layout/process4"/>
    <dgm:cxn modelId="{F91FD35A-0AE9-452F-9F9F-712935AA32E0}" type="presParOf" srcId="{FD6CAE0E-CBC2-44AF-AD6E-BF2DADE94EC3}" destId="{1D2896FE-1C07-4123-94F0-2231E7DA846A}" srcOrd="5" destOrd="0" presId="urn:microsoft.com/office/officeart/2005/8/layout/process4"/>
    <dgm:cxn modelId="{59FBF664-07AE-4B11-800F-7C3A593104F7}" type="presParOf" srcId="{FD6CAE0E-CBC2-44AF-AD6E-BF2DADE94EC3}" destId="{732248CC-4F09-4E7F-8322-06392240FDF2}" srcOrd="6" destOrd="0" presId="urn:microsoft.com/office/officeart/2005/8/layout/process4"/>
    <dgm:cxn modelId="{6E4EAF6B-6CEF-436E-BDA6-FED8583DDC85}" type="presParOf" srcId="{732248CC-4F09-4E7F-8322-06392240FDF2}" destId="{6F9156A4-1797-460E-9DBD-4A390CBC3A22}" srcOrd="0" destOrd="0" presId="urn:microsoft.com/office/officeart/2005/8/layout/process4"/>
    <dgm:cxn modelId="{EB9B17F9-D721-4DF3-AA40-5FD367382E83}" type="presParOf" srcId="{732248CC-4F09-4E7F-8322-06392240FDF2}" destId="{B3739BAE-4274-48C7-8072-66DDA0825629}" srcOrd="1" destOrd="0" presId="urn:microsoft.com/office/officeart/2005/8/layout/process4"/>
    <dgm:cxn modelId="{08098630-6870-4D3D-AADF-DD5DA0E334EF}" type="presParOf" srcId="{732248CC-4F09-4E7F-8322-06392240FDF2}" destId="{81D81DAD-CF01-48CF-B93D-5F0D552F7B8E}" srcOrd="2" destOrd="0" presId="urn:microsoft.com/office/officeart/2005/8/layout/process4"/>
    <dgm:cxn modelId="{B5F674AB-69D9-4066-B948-18545061E693}" type="presParOf" srcId="{81D81DAD-CF01-48CF-B93D-5F0D552F7B8E}" destId="{38930926-D375-4295-AEDA-99AEBE3EE89C}" srcOrd="0" destOrd="0" presId="urn:microsoft.com/office/officeart/2005/8/layout/process4"/>
    <dgm:cxn modelId="{23AD7A66-A4B3-43D9-8EC4-3CA09A552E50}" type="presParOf" srcId="{81D81DAD-CF01-48CF-B93D-5F0D552F7B8E}" destId="{E7E4A2A5-927E-4AA2-B081-0F1530E94665}" srcOrd="1" destOrd="0" presId="urn:microsoft.com/office/officeart/2005/8/layout/process4"/>
    <dgm:cxn modelId="{13F0FAA7-4DDB-4090-8933-325D78ED788C}" type="presParOf" srcId="{FD6CAE0E-CBC2-44AF-AD6E-BF2DADE94EC3}" destId="{095ADF6F-578F-4CED-9939-DC9BED550E5B}" srcOrd="7" destOrd="0" presId="urn:microsoft.com/office/officeart/2005/8/layout/process4"/>
    <dgm:cxn modelId="{6A2CD1DC-32C0-4E94-9899-D330CBAC968C}" type="presParOf" srcId="{FD6CAE0E-CBC2-44AF-AD6E-BF2DADE94EC3}" destId="{70D4803A-F7A0-4A64-98B0-3739E9546E44}" srcOrd="8" destOrd="0" presId="urn:microsoft.com/office/officeart/2005/8/layout/process4"/>
    <dgm:cxn modelId="{2EB3C934-1162-4A95-9A79-58D9B69B55F0}" type="presParOf" srcId="{70D4803A-F7A0-4A64-98B0-3739E9546E44}" destId="{DB2F1988-EB8A-4D50-842F-445681648558}" srcOrd="0" destOrd="0" presId="urn:microsoft.com/office/officeart/2005/8/layout/process4"/>
    <dgm:cxn modelId="{01C86E10-614D-4B7B-B159-05F187CD32B0}" type="presParOf" srcId="{70D4803A-F7A0-4A64-98B0-3739E9546E44}" destId="{7AADF928-1218-4220-8877-DBCB06208513}" srcOrd="1" destOrd="0" presId="urn:microsoft.com/office/officeart/2005/8/layout/process4"/>
    <dgm:cxn modelId="{0F449112-B1DD-465D-A443-FA974A0988DB}" type="presParOf" srcId="{70D4803A-F7A0-4A64-98B0-3739E9546E44}" destId="{9B42C190-F935-413C-885E-9BFC4E9CBCFF}" srcOrd="2" destOrd="0" presId="urn:microsoft.com/office/officeart/2005/8/layout/process4"/>
    <dgm:cxn modelId="{0ECC319C-0738-464E-9F53-7A4D87E65953}" type="presParOf" srcId="{9B42C190-F935-413C-885E-9BFC4E9CBCFF}" destId="{ACE52AB6-E165-4DEE-8D60-309DE8E213BE}" srcOrd="0" destOrd="0" presId="urn:microsoft.com/office/officeart/2005/8/layout/process4"/>
    <dgm:cxn modelId="{A060CECC-534E-475A-9E40-B5AC8E297F44}" type="presParOf" srcId="{9B42C190-F935-413C-885E-9BFC4E9CBCFF}" destId="{93BF704C-D971-489D-864A-6B90E5BEFC8A}" srcOrd="1"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B07E17-DE47-4829-911D-88AC6D949DFA}">
      <dsp:nvSpPr>
        <dsp:cNvPr id="0" name=""/>
        <dsp:cNvSpPr/>
      </dsp:nvSpPr>
      <dsp:spPr>
        <a:xfrm>
          <a:off x="3424549" y="376229"/>
          <a:ext cx="5025079" cy="5025079"/>
        </a:xfrm>
        <a:prstGeom prst="pie">
          <a:avLst>
            <a:gd name="adj1" fmla="val 16200000"/>
            <a:gd name="adj2" fmla="val 0"/>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CH" sz="2200" kern="1200" dirty="0"/>
            <a:t>Optimisation des antibiotiques et adoption </a:t>
          </a:r>
          <a:r>
            <a:rPr lang="es-ES" sz="2200" kern="1200" dirty="0"/>
            <a:t>solide</a:t>
          </a:r>
          <a:endParaRPr lang="en-US" sz="2200" kern="1200" dirty="0"/>
        </a:p>
      </dsp:txBody>
      <dsp:txXfrm>
        <a:off x="6092029" y="1417737"/>
        <a:ext cx="1854493" cy="1375914"/>
      </dsp:txXfrm>
    </dsp:sp>
    <dsp:sp modelId="{FD7AC0E5-D6DE-4B7A-BB62-FAA01FFD0C54}">
      <dsp:nvSpPr>
        <dsp:cNvPr id="0" name=""/>
        <dsp:cNvSpPr/>
      </dsp:nvSpPr>
      <dsp:spPr>
        <a:xfrm>
          <a:off x="3424549" y="544928"/>
          <a:ext cx="5025079" cy="5025079"/>
        </a:xfrm>
        <a:prstGeom prst="pie">
          <a:avLst>
            <a:gd name="adj1" fmla="val 0"/>
            <a:gd name="adj2" fmla="val 5400000"/>
          </a:avLst>
        </a:prstGeom>
        <a:solidFill>
          <a:schemeClr val="accent3">
            <a:shade val="80000"/>
            <a:hueOff val="71626"/>
            <a:satOff val="-22124"/>
            <a:lumOff val="127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CH" sz="2200" kern="1200" dirty="0"/>
            <a:t>Efficacité et transparence du marché</a:t>
          </a:r>
          <a:endParaRPr lang="en-US" sz="2200" kern="1200" dirty="0"/>
        </a:p>
      </dsp:txBody>
      <dsp:txXfrm>
        <a:off x="6092029" y="3152586"/>
        <a:ext cx="1854493" cy="1375914"/>
      </dsp:txXfrm>
    </dsp:sp>
    <dsp:sp modelId="{BA96C5E3-1886-4E34-A514-69BA765CFFD8}">
      <dsp:nvSpPr>
        <dsp:cNvPr id="0" name=""/>
        <dsp:cNvSpPr/>
      </dsp:nvSpPr>
      <dsp:spPr>
        <a:xfrm>
          <a:off x="3255849" y="544928"/>
          <a:ext cx="5025079" cy="5025079"/>
        </a:xfrm>
        <a:prstGeom prst="pie">
          <a:avLst>
            <a:gd name="adj1" fmla="val 5400000"/>
            <a:gd name="adj2" fmla="val 10800000"/>
          </a:avLst>
        </a:prstGeom>
        <a:solidFill>
          <a:schemeClr val="accent3">
            <a:shade val="80000"/>
            <a:hueOff val="143252"/>
            <a:satOff val="-44248"/>
            <a:lumOff val="254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CH" sz="2200" kern="1200" dirty="0"/>
            <a:t>Licences pour la fabrication et l'accès</a:t>
          </a:r>
          <a:endParaRPr lang="en-US" sz="2200" kern="1200" dirty="0"/>
        </a:p>
      </dsp:txBody>
      <dsp:txXfrm>
        <a:off x="3758956" y="3152586"/>
        <a:ext cx="1854493" cy="1375914"/>
      </dsp:txXfrm>
    </dsp:sp>
    <dsp:sp modelId="{89A4B5C7-CBFD-4DCB-8093-541A2C7FB3AD}">
      <dsp:nvSpPr>
        <dsp:cNvPr id="0" name=""/>
        <dsp:cNvSpPr/>
      </dsp:nvSpPr>
      <dsp:spPr>
        <a:xfrm>
          <a:off x="3255849" y="376229"/>
          <a:ext cx="5025079" cy="5025079"/>
        </a:xfrm>
        <a:prstGeom prst="pie">
          <a:avLst>
            <a:gd name="adj1" fmla="val 10800000"/>
            <a:gd name="adj2" fmla="val 16200000"/>
          </a:avLst>
        </a:prstGeom>
        <a:solidFill>
          <a:schemeClr val="accent3">
            <a:shade val="80000"/>
            <a:hueOff val="214878"/>
            <a:satOff val="-66372"/>
            <a:lumOff val="381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endParaRPr lang="en-US" sz="2100" kern="1200" dirty="0"/>
        </a:p>
      </dsp:txBody>
      <dsp:txXfrm>
        <a:off x="3758956" y="1417737"/>
        <a:ext cx="1854493" cy="1375914"/>
      </dsp:txXfrm>
    </dsp:sp>
    <dsp:sp modelId="{7FB20AC5-19F6-4C40-B06E-B91AADD343EB}">
      <dsp:nvSpPr>
        <dsp:cNvPr id="0" name=""/>
        <dsp:cNvSpPr/>
      </dsp:nvSpPr>
      <dsp:spPr>
        <a:xfrm>
          <a:off x="3113472" y="65153"/>
          <a:ext cx="5647232" cy="5647232"/>
        </a:xfrm>
        <a:prstGeom prst="circularArrow">
          <a:avLst>
            <a:gd name="adj1" fmla="val 5085"/>
            <a:gd name="adj2" fmla="val 327528"/>
            <a:gd name="adj3" fmla="val 21272472"/>
            <a:gd name="adj4" fmla="val 16200000"/>
            <a:gd name="adj5" fmla="val 5932"/>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7FA0E3-C2F7-44C4-8638-14D8DA938170}">
      <dsp:nvSpPr>
        <dsp:cNvPr id="0" name=""/>
        <dsp:cNvSpPr/>
      </dsp:nvSpPr>
      <dsp:spPr>
        <a:xfrm>
          <a:off x="3113472" y="233852"/>
          <a:ext cx="5647232" cy="5647232"/>
        </a:xfrm>
        <a:prstGeom prst="circularArrow">
          <a:avLst>
            <a:gd name="adj1" fmla="val 5085"/>
            <a:gd name="adj2" fmla="val 327528"/>
            <a:gd name="adj3" fmla="val 5072472"/>
            <a:gd name="adj4" fmla="val 0"/>
            <a:gd name="adj5" fmla="val 5932"/>
          </a:avLst>
        </a:prstGeom>
        <a:solidFill>
          <a:schemeClr val="accent3">
            <a:shade val="90000"/>
            <a:hueOff val="72025"/>
            <a:satOff val="-22124"/>
            <a:lumOff val="1217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2381FB1-FC83-4305-B481-7D2A47FA5F8A}">
      <dsp:nvSpPr>
        <dsp:cNvPr id="0" name=""/>
        <dsp:cNvSpPr/>
      </dsp:nvSpPr>
      <dsp:spPr>
        <a:xfrm>
          <a:off x="2944773" y="233852"/>
          <a:ext cx="5647232" cy="5647232"/>
        </a:xfrm>
        <a:prstGeom prst="circularArrow">
          <a:avLst>
            <a:gd name="adj1" fmla="val 5085"/>
            <a:gd name="adj2" fmla="val 327528"/>
            <a:gd name="adj3" fmla="val 10472472"/>
            <a:gd name="adj4" fmla="val 5400000"/>
            <a:gd name="adj5" fmla="val 5932"/>
          </a:avLst>
        </a:prstGeom>
        <a:solidFill>
          <a:schemeClr val="accent3">
            <a:shade val="90000"/>
            <a:hueOff val="144050"/>
            <a:satOff val="-44248"/>
            <a:lumOff val="2433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9CB229-072F-4692-82DD-680D0660D823}">
      <dsp:nvSpPr>
        <dsp:cNvPr id="0" name=""/>
        <dsp:cNvSpPr/>
      </dsp:nvSpPr>
      <dsp:spPr>
        <a:xfrm>
          <a:off x="2949263" y="65153"/>
          <a:ext cx="5638253" cy="5647232"/>
        </a:xfrm>
        <a:prstGeom prst="circularArrow">
          <a:avLst>
            <a:gd name="adj1" fmla="val 5085"/>
            <a:gd name="adj2" fmla="val 327528"/>
            <a:gd name="adj3" fmla="val 15872472"/>
            <a:gd name="adj4" fmla="val 10800000"/>
            <a:gd name="adj5" fmla="val 5932"/>
          </a:avLst>
        </a:prstGeom>
        <a:solidFill>
          <a:schemeClr val="accent3">
            <a:shade val="90000"/>
            <a:hueOff val="216075"/>
            <a:satOff val="-66372"/>
            <a:lumOff val="36509"/>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B07E17-DE47-4829-911D-88AC6D949DFA}">
      <dsp:nvSpPr>
        <dsp:cNvPr id="0" name=""/>
        <dsp:cNvSpPr/>
      </dsp:nvSpPr>
      <dsp:spPr>
        <a:xfrm>
          <a:off x="181530" y="61983"/>
          <a:ext cx="1019512" cy="1019512"/>
        </a:xfrm>
        <a:prstGeom prst="pie">
          <a:avLst>
            <a:gd name="adj1" fmla="val 16200000"/>
            <a:gd name="adj2" fmla="val 0"/>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t>Optimisation des antibiotiques et adoption massive</a:t>
          </a:r>
          <a:endParaRPr lang="en-US" sz="400" kern="1200" dirty="0"/>
        </a:p>
      </dsp:txBody>
      <dsp:txXfrm>
        <a:off x="722721" y="273289"/>
        <a:ext cx="376248" cy="279152"/>
      </dsp:txXfrm>
    </dsp:sp>
    <dsp:sp modelId="{FD7AC0E5-D6DE-4B7A-BB62-FAA01FFD0C54}">
      <dsp:nvSpPr>
        <dsp:cNvPr id="0" name=""/>
        <dsp:cNvSpPr/>
      </dsp:nvSpPr>
      <dsp:spPr>
        <a:xfrm>
          <a:off x="181530" y="96209"/>
          <a:ext cx="1019512" cy="1019512"/>
        </a:xfrm>
        <a:prstGeom prst="pie">
          <a:avLst>
            <a:gd name="adj1" fmla="val 0"/>
            <a:gd name="adj2" fmla="val 5400000"/>
          </a:avLst>
        </a:prstGeom>
        <a:solidFill>
          <a:schemeClr val="accent3">
            <a:shade val="80000"/>
            <a:hueOff val="71626"/>
            <a:satOff val="-22124"/>
            <a:lumOff val="127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t>Efficacité et transparence du marché</a:t>
          </a:r>
          <a:endParaRPr lang="en-US" sz="400" kern="1200" dirty="0"/>
        </a:p>
      </dsp:txBody>
      <dsp:txXfrm>
        <a:off x="722721" y="625263"/>
        <a:ext cx="376248" cy="279152"/>
      </dsp:txXfrm>
    </dsp:sp>
    <dsp:sp modelId="{BA96C5E3-1886-4E34-A514-69BA765CFFD8}">
      <dsp:nvSpPr>
        <dsp:cNvPr id="0" name=""/>
        <dsp:cNvSpPr/>
      </dsp:nvSpPr>
      <dsp:spPr>
        <a:xfrm>
          <a:off x="147304" y="96209"/>
          <a:ext cx="1019512" cy="1019512"/>
        </a:xfrm>
        <a:prstGeom prst="pie">
          <a:avLst>
            <a:gd name="adj1" fmla="val 5400000"/>
            <a:gd name="adj2" fmla="val 10800000"/>
          </a:avLst>
        </a:prstGeom>
        <a:solidFill>
          <a:schemeClr val="accent3">
            <a:shade val="80000"/>
            <a:hueOff val="143252"/>
            <a:satOff val="-44248"/>
            <a:lumOff val="254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t>Licences pour la fabrication et l'accès</a:t>
          </a:r>
          <a:endParaRPr lang="en-US" sz="400" kern="1200" dirty="0"/>
        </a:p>
      </dsp:txBody>
      <dsp:txXfrm>
        <a:off x="249376" y="625263"/>
        <a:ext cx="376248" cy="279152"/>
      </dsp:txXfrm>
    </dsp:sp>
    <dsp:sp modelId="{89A4B5C7-CBFD-4DCB-8093-541A2C7FB3AD}">
      <dsp:nvSpPr>
        <dsp:cNvPr id="0" name=""/>
        <dsp:cNvSpPr/>
      </dsp:nvSpPr>
      <dsp:spPr>
        <a:xfrm>
          <a:off x="147304" y="61983"/>
          <a:ext cx="1019512" cy="1019512"/>
        </a:xfrm>
        <a:prstGeom prst="pie">
          <a:avLst>
            <a:gd name="adj1" fmla="val 10800000"/>
            <a:gd name="adj2" fmla="val 16200000"/>
          </a:avLst>
        </a:prstGeom>
        <a:solidFill>
          <a:schemeClr val="accent3">
            <a:shade val="80000"/>
            <a:hueOff val="214878"/>
            <a:satOff val="-66372"/>
            <a:lumOff val="381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solidFill>
                <a:srgbClr val="FF0000"/>
              </a:solidFill>
            </a:rPr>
            <a:t>Développement de médicaments à but non lucratif </a:t>
          </a:r>
          <a:endParaRPr lang="en-US" sz="400" kern="1200" dirty="0">
            <a:solidFill>
              <a:srgbClr val="FF0000"/>
            </a:solidFill>
          </a:endParaRPr>
        </a:p>
      </dsp:txBody>
      <dsp:txXfrm>
        <a:off x="249376" y="273289"/>
        <a:ext cx="376248" cy="279152"/>
      </dsp:txXfrm>
    </dsp:sp>
    <dsp:sp modelId="{7FB20AC5-19F6-4C40-B06E-B91AADD343EB}">
      <dsp:nvSpPr>
        <dsp:cNvPr id="0" name=""/>
        <dsp:cNvSpPr/>
      </dsp:nvSpPr>
      <dsp:spPr>
        <a:xfrm>
          <a:off x="118417" y="-1129"/>
          <a:ext cx="1145737" cy="1145737"/>
        </a:xfrm>
        <a:prstGeom prst="circularArrow">
          <a:avLst>
            <a:gd name="adj1" fmla="val 5085"/>
            <a:gd name="adj2" fmla="val 327528"/>
            <a:gd name="adj3" fmla="val 21272472"/>
            <a:gd name="adj4" fmla="val 16200000"/>
            <a:gd name="adj5" fmla="val 5932"/>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7FA0E3-C2F7-44C4-8638-14D8DA938170}">
      <dsp:nvSpPr>
        <dsp:cNvPr id="0" name=""/>
        <dsp:cNvSpPr/>
      </dsp:nvSpPr>
      <dsp:spPr>
        <a:xfrm>
          <a:off x="118417" y="33096"/>
          <a:ext cx="1145737" cy="1145737"/>
        </a:xfrm>
        <a:prstGeom prst="circularArrow">
          <a:avLst>
            <a:gd name="adj1" fmla="val 5085"/>
            <a:gd name="adj2" fmla="val 327528"/>
            <a:gd name="adj3" fmla="val 5072472"/>
            <a:gd name="adj4" fmla="val 0"/>
            <a:gd name="adj5" fmla="val 5932"/>
          </a:avLst>
        </a:prstGeom>
        <a:solidFill>
          <a:schemeClr val="accent3">
            <a:shade val="90000"/>
            <a:hueOff val="72025"/>
            <a:satOff val="-22124"/>
            <a:lumOff val="1217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2381FB1-FC83-4305-B481-7D2A47FA5F8A}">
      <dsp:nvSpPr>
        <dsp:cNvPr id="0" name=""/>
        <dsp:cNvSpPr/>
      </dsp:nvSpPr>
      <dsp:spPr>
        <a:xfrm>
          <a:off x="84191" y="33096"/>
          <a:ext cx="1145737" cy="1145737"/>
        </a:xfrm>
        <a:prstGeom prst="circularArrow">
          <a:avLst>
            <a:gd name="adj1" fmla="val 5085"/>
            <a:gd name="adj2" fmla="val 327528"/>
            <a:gd name="adj3" fmla="val 10472472"/>
            <a:gd name="adj4" fmla="val 5400000"/>
            <a:gd name="adj5" fmla="val 5932"/>
          </a:avLst>
        </a:prstGeom>
        <a:solidFill>
          <a:schemeClr val="accent3">
            <a:shade val="90000"/>
            <a:hueOff val="144050"/>
            <a:satOff val="-44248"/>
            <a:lumOff val="2433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9CB229-072F-4692-82DD-680D0660D823}">
      <dsp:nvSpPr>
        <dsp:cNvPr id="0" name=""/>
        <dsp:cNvSpPr/>
      </dsp:nvSpPr>
      <dsp:spPr>
        <a:xfrm>
          <a:off x="84191" y="-1129"/>
          <a:ext cx="1145737" cy="1145737"/>
        </a:xfrm>
        <a:prstGeom prst="circularArrow">
          <a:avLst>
            <a:gd name="adj1" fmla="val 5085"/>
            <a:gd name="adj2" fmla="val 327528"/>
            <a:gd name="adj3" fmla="val 15872472"/>
            <a:gd name="adj4" fmla="val 10800000"/>
            <a:gd name="adj5" fmla="val 5932"/>
          </a:avLst>
        </a:prstGeom>
        <a:solidFill>
          <a:schemeClr val="accent3">
            <a:shade val="90000"/>
            <a:hueOff val="216075"/>
            <a:satOff val="-66372"/>
            <a:lumOff val="36509"/>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B07E17-DE47-4829-911D-88AC6D949DFA}">
      <dsp:nvSpPr>
        <dsp:cNvPr id="0" name=""/>
        <dsp:cNvSpPr/>
      </dsp:nvSpPr>
      <dsp:spPr>
        <a:xfrm>
          <a:off x="181530" y="61983"/>
          <a:ext cx="1019512" cy="1019512"/>
        </a:xfrm>
        <a:prstGeom prst="pie">
          <a:avLst>
            <a:gd name="adj1" fmla="val 16200000"/>
            <a:gd name="adj2" fmla="val 0"/>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t>Optimisation des antibiotiques et adoption massive</a:t>
          </a:r>
          <a:endParaRPr lang="en-US" sz="400" kern="1200" dirty="0"/>
        </a:p>
      </dsp:txBody>
      <dsp:txXfrm>
        <a:off x="722721" y="273289"/>
        <a:ext cx="376248" cy="279152"/>
      </dsp:txXfrm>
    </dsp:sp>
    <dsp:sp modelId="{FD7AC0E5-D6DE-4B7A-BB62-FAA01FFD0C54}">
      <dsp:nvSpPr>
        <dsp:cNvPr id="0" name=""/>
        <dsp:cNvSpPr/>
      </dsp:nvSpPr>
      <dsp:spPr>
        <a:xfrm>
          <a:off x="181530" y="96209"/>
          <a:ext cx="1019512" cy="1019512"/>
        </a:xfrm>
        <a:prstGeom prst="pie">
          <a:avLst>
            <a:gd name="adj1" fmla="val 0"/>
            <a:gd name="adj2" fmla="val 5400000"/>
          </a:avLst>
        </a:prstGeom>
        <a:solidFill>
          <a:schemeClr val="accent3">
            <a:shade val="80000"/>
            <a:hueOff val="71626"/>
            <a:satOff val="-22124"/>
            <a:lumOff val="127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t>Efficacité et transparence du marché</a:t>
          </a:r>
          <a:endParaRPr lang="en-US" sz="400" kern="1200" dirty="0"/>
        </a:p>
      </dsp:txBody>
      <dsp:txXfrm>
        <a:off x="722721" y="625263"/>
        <a:ext cx="376248" cy="279152"/>
      </dsp:txXfrm>
    </dsp:sp>
    <dsp:sp modelId="{BA96C5E3-1886-4E34-A514-69BA765CFFD8}">
      <dsp:nvSpPr>
        <dsp:cNvPr id="0" name=""/>
        <dsp:cNvSpPr/>
      </dsp:nvSpPr>
      <dsp:spPr>
        <a:xfrm>
          <a:off x="147304" y="96209"/>
          <a:ext cx="1019512" cy="1019512"/>
        </a:xfrm>
        <a:prstGeom prst="pie">
          <a:avLst>
            <a:gd name="adj1" fmla="val 5400000"/>
            <a:gd name="adj2" fmla="val 10800000"/>
          </a:avLst>
        </a:prstGeom>
        <a:solidFill>
          <a:schemeClr val="accent3">
            <a:shade val="80000"/>
            <a:hueOff val="143252"/>
            <a:satOff val="-44248"/>
            <a:lumOff val="254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solidFill>
                <a:srgbClr val="C00000"/>
              </a:solidFill>
            </a:rPr>
            <a:t>Licences pour la fabrication et l'accès</a:t>
          </a:r>
          <a:endParaRPr lang="en-US" sz="400" kern="1200" dirty="0">
            <a:solidFill>
              <a:srgbClr val="C00000"/>
            </a:solidFill>
          </a:endParaRPr>
        </a:p>
      </dsp:txBody>
      <dsp:txXfrm>
        <a:off x="249376" y="625263"/>
        <a:ext cx="376248" cy="279152"/>
      </dsp:txXfrm>
    </dsp:sp>
    <dsp:sp modelId="{89A4B5C7-CBFD-4DCB-8093-541A2C7FB3AD}">
      <dsp:nvSpPr>
        <dsp:cNvPr id="0" name=""/>
        <dsp:cNvSpPr/>
      </dsp:nvSpPr>
      <dsp:spPr>
        <a:xfrm>
          <a:off x="147304" y="61983"/>
          <a:ext cx="1019512" cy="1019512"/>
        </a:xfrm>
        <a:prstGeom prst="pie">
          <a:avLst>
            <a:gd name="adj1" fmla="val 10800000"/>
            <a:gd name="adj2" fmla="val 16200000"/>
          </a:avLst>
        </a:prstGeom>
        <a:solidFill>
          <a:schemeClr val="accent3">
            <a:shade val="80000"/>
            <a:hueOff val="214878"/>
            <a:satOff val="-66372"/>
            <a:lumOff val="381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solidFill>
                <a:schemeClr val="bg1"/>
              </a:solidFill>
            </a:rPr>
            <a:t>Développement de médicaments à but non lucratif </a:t>
          </a:r>
          <a:endParaRPr lang="en-US" sz="400" kern="1200" dirty="0">
            <a:solidFill>
              <a:schemeClr val="bg1"/>
            </a:solidFill>
          </a:endParaRPr>
        </a:p>
      </dsp:txBody>
      <dsp:txXfrm>
        <a:off x="249376" y="273289"/>
        <a:ext cx="376248" cy="279152"/>
      </dsp:txXfrm>
    </dsp:sp>
    <dsp:sp modelId="{7FB20AC5-19F6-4C40-B06E-B91AADD343EB}">
      <dsp:nvSpPr>
        <dsp:cNvPr id="0" name=""/>
        <dsp:cNvSpPr/>
      </dsp:nvSpPr>
      <dsp:spPr>
        <a:xfrm>
          <a:off x="118417" y="-1129"/>
          <a:ext cx="1145737" cy="1145737"/>
        </a:xfrm>
        <a:prstGeom prst="circularArrow">
          <a:avLst>
            <a:gd name="adj1" fmla="val 5085"/>
            <a:gd name="adj2" fmla="val 327528"/>
            <a:gd name="adj3" fmla="val 21272472"/>
            <a:gd name="adj4" fmla="val 16200000"/>
            <a:gd name="adj5" fmla="val 5932"/>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7FA0E3-C2F7-44C4-8638-14D8DA938170}">
      <dsp:nvSpPr>
        <dsp:cNvPr id="0" name=""/>
        <dsp:cNvSpPr/>
      </dsp:nvSpPr>
      <dsp:spPr>
        <a:xfrm>
          <a:off x="118417" y="33096"/>
          <a:ext cx="1145737" cy="1145737"/>
        </a:xfrm>
        <a:prstGeom prst="circularArrow">
          <a:avLst>
            <a:gd name="adj1" fmla="val 5085"/>
            <a:gd name="adj2" fmla="val 327528"/>
            <a:gd name="adj3" fmla="val 5072472"/>
            <a:gd name="adj4" fmla="val 0"/>
            <a:gd name="adj5" fmla="val 5932"/>
          </a:avLst>
        </a:prstGeom>
        <a:solidFill>
          <a:schemeClr val="accent3">
            <a:shade val="90000"/>
            <a:hueOff val="72025"/>
            <a:satOff val="-22124"/>
            <a:lumOff val="1217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2381FB1-FC83-4305-B481-7D2A47FA5F8A}">
      <dsp:nvSpPr>
        <dsp:cNvPr id="0" name=""/>
        <dsp:cNvSpPr/>
      </dsp:nvSpPr>
      <dsp:spPr>
        <a:xfrm>
          <a:off x="84191" y="33096"/>
          <a:ext cx="1145737" cy="1145737"/>
        </a:xfrm>
        <a:prstGeom prst="circularArrow">
          <a:avLst>
            <a:gd name="adj1" fmla="val 5085"/>
            <a:gd name="adj2" fmla="val 327528"/>
            <a:gd name="adj3" fmla="val 10472472"/>
            <a:gd name="adj4" fmla="val 5400000"/>
            <a:gd name="adj5" fmla="val 5932"/>
          </a:avLst>
        </a:prstGeom>
        <a:solidFill>
          <a:schemeClr val="accent3">
            <a:shade val="90000"/>
            <a:hueOff val="144050"/>
            <a:satOff val="-44248"/>
            <a:lumOff val="2433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9CB229-072F-4692-82DD-680D0660D823}">
      <dsp:nvSpPr>
        <dsp:cNvPr id="0" name=""/>
        <dsp:cNvSpPr/>
      </dsp:nvSpPr>
      <dsp:spPr>
        <a:xfrm>
          <a:off x="84191" y="-1129"/>
          <a:ext cx="1145737" cy="1145737"/>
        </a:xfrm>
        <a:prstGeom prst="circularArrow">
          <a:avLst>
            <a:gd name="adj1" fmla="val 5085"/>
            <a:gd name="adj2" fmla="val 327528"/>
            <a:gd name="adj3" fmla="val 15872472"/>
            <a:gd name="adj4" fmla="val 10800000"/>
            <a:gd name="adj5" fmla="val 5932"/>
          </a:avLst>
        </a:prstGeom>
        <a:solidFill>
          <a:schemeClr val="accent3">
            <a:shade val="90000"/>
            <a:hueOff val="216075"/>
            <a:satOff val="-66372"/>
            <a:lumOff val="36509"/>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B07E17-DE47-4829-911D-88AC6D949DFA}">
      <dsp:nvSpPr>
        <dsp:cNvPr id="0" name=""/>
        <dsp:cNvSpPr/>
      </dsp:nvSpPr>
      <dsp:spPr>
        <a:xfrm>
          <a:off x="181530" y="61983"/>
          <a:ext cx="1019512" cy="1019512"/>
        </a:xfrm>
        <a:prstGeom prst="pie">
          <a:avLst>
            <a:gd name="adj1" fmla="val 16200000"/>
            <a:gd name="adj2" fmla="val 0"/>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t>Optimisation des antibiotiques et adoption massive</a:t>
          </a:r>
          <a:endParaRPr lang="en-US" sz="400" kern="1200" dirty="0"/>
        </a:p>
      </dsp:txBody>
      <dsp:txXfrm>
        <a:off x="722721" y="273289"/>
        <a:ext cx="376248" cy="279152"/>
      </dsp:txXfrm>
    </dsp:sp>
    <dsp:sp modelId="{FD7AC0E5-D6DE-4B7A-BB62-FAA01FFD0C54}">
      <dsp:nvSpPr>
        <dsp:cNvPr id="0" name=""/>
        <dsp:cNvSpPr/>
      </dsp:nvSpPr>
      <dsp:spPr>
        <a:xfrm>
          <a:off x="181530" y="96209"/>
          <a:ext cx="1019512" cy="1019512"/>
        </a:xfrm>
        <a:prstGeom prst="pie">
          <a:avLst>
            <a:gd name="adj1" fmla="val 0"/>
            <a:gd name="adj2" fmla="val 5400000"/>
          </a:avLst>
        </a:prstGeom>
        <a:solidFill>
          <a:schemeClr val="accent3">
            <a:shade val="80000"/>
            <a:hueOff val="71626"/>
            <a:satOff val="-22124"/>
            <a:lumOff val="127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solidFill>
                <a:srgbClr val="C00000"/>
              </a:solidFill>
            </a:rPr>
            <a:t>Efficacité et transparence du marché</a:t>
          </a:r>
          <a:endParaRPr lang="en-US" sz="400" kern="1200" dirty="0">
            <a:solidFill>
              <a:srgbClr val="C00000"/>
            </a:solidFill>
          </a:endParaRPr>
        </a:p>
      </dsp:txBody>
      <dsp:txXfrm>
        <a:off x="722721" y="625263"/>
        <a:ext cx="376248" cy="279152"/>
      </dsp:txXfrm>
    </dsp:sp>
    <dsp:sp modelId="{BA96C5E3-1886-4E34-A514-69BA765CFFD8}">
      <dsp:nvSpPr>
        <dsp:cNvPr id="0" name=""/>
        <dsp:cNvSpPr/>
      </dsp:nvSpPr>
      <dsp:spPr>
        <a:xfrm>
          <a:off x="147304" y="96209"/>
          <a:ext cx="1019512" cy="1019512"/>
        </a:xfrm>
        <a:prstGeom prst="pie">
          <a:avLst>
            <a:gd name="adj1" fmla="val 5400000"/>
            <a:gd name="adj2" fmla="val 10800000"/>
          </a:avLst>
        </a:prstGeom>
        <a:solidFill>
          <a:schemeClr val="accent3">
            <a:shade val="80000"/>
            <a:hueOff val="143252"/>
            <a:satOff val="-44248"/>
            <a:lumOff val="254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solidFill>
                <a:schemeClr val="bg1"/>
              </a:solidFill>
            </a:rPr>
            <a:t>Licences pour la fabrication et l'accès</a:t>
          </a:r>
          <a:endParaRPr lang="en-US" sz="400" kern="1200" dirty="0">
            <a:solidFill>
              <a:schemeClr val="bg1"/>
            </a:solidFill>
          </a:endParaRPr>
        </a:p>
      </dsp:txBody>
      <dsp:txXfrm>
        <a:off x="249376" y="625263"/>
        <a:ext cx="376248" cy="279152"/>
      </dsp:txXfrm>
    </dsp:sp>
    <dsp:sp modelId="{89A4B5C7-CBFD-4DCB-8093-541A2C7FB3AD}">
      <dsp:nvSpPr>
        <dsp:cNvPr id="0" name=""/>
        <dsp:cNvSpPr/>
      </dsp:nvSpPr>
      <dsp:spPr>
        <a:xfrm>
          <a:off x="147304" y="61983"/>
          <a:ext cx="1019512" cy="1019512"/>
        </a:xfrm>
        <a:prstGeom prst="pie">
          <a:avLst>
            <a:gd name="adj1" fmla="val 10800000"/>
            <a:gd name="adj2" fmla="val 16200000"/>
          </a:avLst>
        </a:prstGeom>
        <a:solidFill>
          <a:schemeClr val="accent3">
            <a:shade val="80000"/>
            <a:hueOff val="214878"/>
            <a:satOff val="-66372"/>
            <a:lumOff val="381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solidFill>
                <a:schemeClr val="bg1"/>
              </a:solidFill>
            </a:rPr>
            <a:t>Développement de médicaments à but non lucratif </a:t>
          </a:r>
          <a:endParaRPr lang="en-US" sz="400" kern="1200" dirty="0">
            <a:solidFill>
              <a:schemeClr val="bg1"/>
            </a:solidFill>
          </a:endParaRPr>
        </a:p>
      </dsp:txBody>
      <dsp:txXfrm>
        <a:off x="249376" y="273289"/>
        <a:ext cx="376248" cy="279152"/>
      </dsp:txXfrm>
    </dsp:sp>
    <dsp:sp modelId="{7FB20AC5-19F6-4C40-B06E-B91AADD343EB}">
      <dsp:nvSpPr>
        <dsp:cNvPr id="0" name=""/>
        <dsp:cNvSpPr/>
      </dsp:nvSpPr>
      <dsp:spPr>
        <a:xfrm>
          <a:off x="118417" y="-1129"/>
          <a:ext cx="1145737" cy="1145737"/>
        </a:xfrm>
        <a:prstGeom prst="circularArrow">
          <a:avLst>
            <a:gd name="adj1" fmla="val 5085"/>
            <a:gd name="adj2" fmla="val 327528"/>
            <a:gd name="adj3" fmla="val 21272472"/>
            <a:gd name="adj4" fmla="val 16200000"/>
            <a:gd name="adj5" fmla="val 5932"/>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7FA0E3-C2F7-44C4-8638-14D8DA938170}">
      <dsp:nvSpPr>
        <dsp:cNvPr id="0" name=""/>
        <dsp:cNvSpPr/>
      </dsp:nvSpPr>
      <dsp:spPr>
        <a:xfrm>
          <a:off x="118417" y="33096"/>
          <a:ext cx="1145737" cy="1145737"/>
        </a:xfrm>
        <a:prstGeom prst="circularArrow">
          <a:avLst>
            <a:gd name="adj1" fmla="val 5085"/>
            <a:gd name="adj2" fmla="val 327528"/>
            <a:gd name="adj3" fmla="val 5072472"/>
            <a:gd name="adj4" fmla="val 0"/>
            <a:gd name="adj5" fmla="val 5932"/>
          </a:avLst>
        </a:prstGeom>
        <a:solidFill>
          <a:schemeClr val="accent3">
            <a:shade val="90000"/>
            <a:hueOff val="72025"/>
            <a:satOff val="-22124"/>
            <a:lumOff val="1217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2381FB1-FC83-4305-B481-7D2A47FA5F8A}">
      <dsp:nvSpPr>
        <dsp:cNvPr id="0" name=""/>
        <dsp:cNvSpPr/>
      </dsp:nvSpPr>
      <dsp:spPr>
        <a:xfrm>
          <a:off x="84191" y="33096"/>
          <a:ext cx="1145737" cy="1145737"/>
        </a:xfrm>
        <a:prstGeom prst="circularArrow">
          <a:avLst>
            <a:gd name="adj1" fmla="val 5085"/>
            <a:gd name="adj2" fmla="val 327528"/>
            <a:gd name="adj3" fmla="val 10472472"/>
            <a:gd name="adj4" fmla="val 5400000"/>
            <a:gd name="adj5" fmla="val 5932"/>
          </a:avLst>
        </a:prstGeom>
        <a:solidFill>
          <a:schemeClr val="accent3">
            <a:shade val="90000"/>
            <a:hueOff val="144050"/>
            <a:satOff val="-44248"/>
            <a:lumOff val="2433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9CB229-072F-4692-82DD-680D0660D823}">
      <dsp:nvSpPr>
        <dsp:cNvPr id="0" name=""/>
        <dsp:cNvSpPr/>
      </dsp:nvSpPr>
      <dsp:spPr>
        <a:xfrm>
          <a:off x="84191" y="-1129"/>
          <a:ext cx="1145737" cy="1145737"/>
        </a:xfrm>
        <a:prstGeom prst="circularArrow">
          <a:avLst>
            <a:gd name="adj1" fmla="val 5085"/>
            <a:gd name="adj2" fmla="val 327528"/>
            <a:gd name="adj3" fmla="val 15872472"/>
            <a:gd name="adj4" fmla="val 10800000"/>
            <a:gd name="adj5" fmla="val 5932"/>
          </a:avLst>
        </a:prstGeom>
        <a:solidFill>
          <a:schemeClr val="accent3">
            <a:shade val="90000"/>
            <a:hueOff val="216075"/>
            <a:satOff val="-66372"/>
            <a:lumOff val="36509"/>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73E7E9-505B-464E-A291-AC449D223E23}">
      <dsp:nvSpPr>
        <dsp:cNvPr id="0" name=""/>
        <dsp:cNvSpPr/>
      </dsp:nvSpPr>
      <dsp:spPr>
        <a:xfrm rot="5400000">
          <a:off x="412481" y="2214124"/>
          <a:ext cx="1231063" cy="204846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7C182F-9F0F-4AA3-86E4-1552B7734B57}">
      <dsp:nvSpPr>
        <dsp:cNvPr id="0" name=""/>
        <dsp:cNvSpPr/>
      </dsp:nvSpPr>
      <dsp:spPr>
        <a:xfrm>
          <a:off x="206986" y="2826173"/>
          <a:ext cx="1849362" cy="1621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Achat éclairé</a:t>
          </a:r>
        </a:p>
      </dsp:txBody>
      <dsp:txXfrm>
        <a:off x="206986" y="2826173"/>
        <a:ext cx="1849362" cy="1621074"/>
      </dsp:txXfrm>
    </dsp:sp>
    <dsp:sp modelId="{653D46BE-A850-4954-B391-B43A1816539F}">
      <dsp:nvSpPr>
        <dsp:cNvPr id="0" name=""/>
        <dsp:cNvSpPr/>
      </dsp:nvSpPr>
      <dsp:spPr>
        <a:xfrm>
          <a:off x="1707412" y="2063314"/>
          <a:ext cx="348936" cy="348936"/>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5B7AC8-E274-4ADB-95E3-D18F62BF1538}">
      <dsp:nvSpPr>
        <dsp:cNvPr id="0" name=""/>
        <dsp:cNvSpPr/>
      </dsp:nvSpPr>
      <dsp:spPr>
        <a:xfrm rot="5400000">
          <a:off x="2676462" y="1653900"/>
          <a:ext cx="1231063" cy="204846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F5803B-B157-4AB7-BAE1-DFC592BFFDB8}">
      <dsp:nvSpPr>
        <dsp:cNvPr id="0" name=""/>
        <dsp:cNvSpPr/>
      </dsp:nvSpPr>
      <dsp:spPr>
        <a:xfrm>
          <a:off x="2470967" y="2265949"/>
          <a:ext cx="1849362" cy="1621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Achats éclairés coordonnés</a:t>
          </a:r>
        </a:p>
      </dsp:txBody>
      <dsp:txXfrm>
        <a:off x="2470967" y="2265949"/>
        <a:ext cx="1849362" cy="1621074"/>
      </dsp:txXfrm>
    </dsp:sp>
    <dsp:sp modelId="{3BA23936-936B-4891-A422-3DFC2A785D0A}">
      <dsp:nvSpPr>
        <dsp:cNvPr id="0" name=""/>
        <dsp:cNvSpPr/>
      </dsp:nvSpPr>
      <dsp:spPr>
        <a:xfrm>
          <a:off x="3971393" y="1503090"/>
          <a:ext cx="348936" cy="348936"/>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45DFDD-68C8-4B2E-864A-B0856B5D16A8}">
      <dsp:nvSpPr>
        <dsp:cNvPr id="0" name=""/>
        <dsp:cNvSpPr/>
      </dsp:nvSpPr>
      <dsp:spPr>
        <a:xfrm rot="5400000">
          <a:off x="4940443" y="1093676"/>
          <a:ext cx="1231063" cy="204846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516726-8739-4273-A2F7-CE142E8AFF12}">
      <dsp:nvSpPr>
        <dsp:cNvPr id="0" name=""/>
        <dsp:cNvSpPr/>
      </dsp:nvSpPr>
      <dsp:spPr>
        <a:xfrm>
          <a:off x="4734948" y="1705724"/>
          <a:ext cx="1849362" cy="1621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Contrats collectifs</a:t>
          </a:r>
        </a:p>
      </dsp:txBody>
      <dsp:txXfrm>
        <a:off x="4734948" y="1705724"/>
        <a:ext cx="1849362" cy="1621074"/>
      </dsp:txXfrm>
    </dsp:sp>
    <dsp:sp modelId="{7439A96C-5E70-45A1-A84F-DBB70292982A}">
      <dsp:nvSpPr>
        <dsp:cNvPr id="0" name=""/>
        <dsp:cNvSpPr/>
      </dsp:nvSpPr>
      <dsp:spPr>
        <a:xfrm>
          <a:off x="6235375" y="942866"/>
          <a:ext cx="348936" cy="348936"/>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543102-936C-481F-A968-D497BAEC4ACA}">
      <dsp:nvSpPr>
        <dsp:cNvPr id="0" name=""/>
        <dsp:cNvSpPr/>
      </dsp:nvSpPr>
      <dsp:spPr>
        <a:xfrm rot="5400000">
          <a:off x="7204424" y="533451"/>
          <a:ext cx="1231063" cy="204846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4D7897-4885-4F43-A84A-4431089FF6D6}">
      <dsp:nvSpPr>
        <dsp:cNvPr id="0" name=""/>
        <dsp:cNvSpPr/>
      </dsp:nvSpPr>
      <dsp:spPr>
        <a:xfrm>
          <a:off x="6998929" y="1145500"/>
          <a:ext cx="1849362" cy="1621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Contrats et achats centralisés</a:t>
          </a:r>
        </a:p>
      </dsp:txBody>
      <dsp:txXfrm>
        <a:off x="6998929" y="1145500"/>
        <a:ext cx="1849362" cy="1621074"/>
      </dsp:txXfrm>
    </dsp:sp>
    <dsp:sp modelId="{86510231-5713-4E1B-A557-F2487FD49C06}">
      <dsp:nvSpPr>
        <dsp:cNvPr id="0" name=""/>
        <dsp:cNvSpPr/>
      </dsp:nvSpPr>
      <dsp:spPr>
        <a:xfrm>
          <a:off x="8499356" y="382641"/>
          <a:ext cx="348936" cy="348936"/>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DF0E42-EDE5-44AD-BB43-8A5E0DB89851}">
      <dsp:nvSpPr>
        <dsp:cNvPr id="0" name=""/>
        <dsp:cNvSpPr/>
      </dsp:nvSpPr>
      <dsp:spPr>
        <a:xfrm rot="5400000">
          <a:off x="9468406" y="-26772"/>
          <a:ext cx="1231063" cy="204846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AEF4CA-0538-4A7E-B1B9-DB28A54EA34E}">
      <dsp:nvSpPr>
        <dsp:cNvPr id="0" name=""/>
        <dsp:cNvSpPr/>
      </dsp:nvSpPr>
      <dsp:spPr>
        <a:xfrm>
          <a:off x="9262911" y="585276"/>
          <a:ext cx="1849362" cy="1621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Achats groupés + distribution</a:t>
          </a:r>
        </a:p>
      </dsp:txBody>
      <dsp:txXfrm>
        <a:off x="9262911" y="585276"/>
        <a:ext cx="1849362" cy="162107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B07E17-DE47-4829-911D-88AC6D949DFA}">
      <dsp:nvSpPr>
        <dsp:cNvPr id="0" name=""/>
        <dsp:cNvSpPr/>
      </dsp:nvSpPr>
      <dsp:spPr>
        <a:xfrm>
          <a:off x="181530" y="61983"/>
          <a:ext cx="1019512" cy="1019512"/>
        </a:xfrm>
        <a:prstGeom prst="pie">
          <a:avLst>
            <a:gd name="adj1" fmla="val 16200000"/>
            <a:gd name="adj2" fmla="val 0"/>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t>Optimisation des antibiotiques et adoption massive</a:t>
          </a:r>
          <a:endParaRPr lang="en-US" sz="400" kern="1200" dirty="0"/>
        </a:p>
      </dsp:txBody>
      <dsp:txXfrm>
        <a:off x="722721" y="273289"/>
        <a:ext cx="376248" cy="279152"/>
      </dsp:txXfrm>
    </dsp:sp>
    <dsp:sp modelId="{FD7AC0E5-D6DE-4B7A-BB62-FAA01FFD0C54}">
      <dsp:nvSpPr>
        <dsp:cNvPr id="0" name=""/>
        <dsp:cNvSpPr/>
      </dsp:nvSpPr>
      <dsp:spPr>
        <a:xfrm>
          <a:off x="181530" y="96209"/>
          <a:ext cx="1019512" cy="1019512"/>
        </a:xfrm>
        <a:prstGeom prst="pie">
          <a:avLst>
            <a:gd name="adj1" fmla="val 0"/>
            <a:gd name="adj2" fmla="val 5400000"/>
          </a:avLst>
        </a:prstGeom>
        <a:solidFill>
          <a:schemeClr val="accent3">
            <a:shade val="80000"/>
            <a:hueOff val="71626"/>
            <a:satOff val="-22124"/>
            <a:lumOff val="127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solidFill>
                <a:srgbClr val="C00000"/>
              </a:solidFill>
            </a:rPr>
            <a:t>Efficacité et transparence du marché</a:t>
          </a:r>
          <a:endParaRPr lang="en-US" sz="400" kern="1200" dirty="0">
            <a:solidFill>
              <a:srgbClr val="C00000"/>
            </a:solidFill>
          </a:endParaRPr>
        </a:p>
      </dsp:txBody>
      <dsp:txXfrm>
        <a:off x="722721" y="625263"/>
        <a:ext cx="376248" cy="279152"/>
      </dsp:txXfrm>
    </dsp:sp>
    <dsp:sp modelId="{BA96C5E3-1886-4E34-A514-69BA765CFFD8}">
      <dsp:nvSpPr>
        <dsp:cNvPr id="0" name=""/>
        <dsp:cNvSpPr/>
      </dsp:nvSpPr>
      <dsp:spPr>
        <a:xfrm>
          <a:off x="147304" y="96209"/>
          <a:ext cx="1019512" cy="1019512"/>
        </a:xfrm>
        <a:prstGeom prst="pie">
          <a:avLst>
            <a:gd name="adj1" fmla="val 5400000"/>
            <a:gd name="adj2" fmla="val 10800000"/>
          </a:avLst>
        </a:prstGeom>
        <a:solidFill>
          <a:schemeClr val="accent3">
            <a:shade val="80000"/>
            <a:hueOff val="143252"/>
            <a:satOff val="-44248"/>
            <a:lumOff val="254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solidFill>
                <a:schemeClr val="bg1"/>
              </a:solidFill>
            </a:rPr>
            <a:t>Licences pour la fabrication et l'accès</a:t>
          </a:r>
          <a:endParaRPr lang="en-US" sz="400" kern="1200" dirty="0">
            <a:solidFill>
              <a:schemeClr val="bg1"/>
            </a:solidFill>
          </a:endParaRPr>
        </a:p>
      </dsp:txBody>
      <dsp:txXfrm>
        <a:off x="249376" y="625263"/>
        <a:ext cx="376248" cy="279152"/>
      </dsp:txXfrm>
    </dsp:sp>
    <dsp:sp modelId="{89A4B5C7-CBFD-4DCB-8093-541A2C7FB3AD}">
      <dsp:nvSpPr>
        <dsp:cNvPr id="0" name=""/>
        <dsp:cNvSpPr/>
      </dsp:nvSpPr>
      <dsp:spPr>
        <a:xfrm>
          <a:off x="147304" y="61983"/>
          <a:ext cx="1019512" cy="1019512"/>
        </a:xfrm>
        <a:prstGeom prst="pie">
          <a:avLst>
            <a:gd name="adj1" fmla="val 10800000"/>
            <a:gd name="adj2" fmla="val 16200000"/>
          </a:avLst>
        </a:prstGeom>
        <a:solidFill>
          <a:schemeClr val="accent3">
            <a:shade val="80000"/>
            <a:hueOff val="214878"/>
            <a:satOff val="-66372"/>
            <a:lumOff val="381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177800">
            <a:lnSpc>
              <a:spcPct val="90000"/>
            </a:lnSpc>
            <a:spcBef>
              <a:spcPct val="0"/>
            </a:spcBef>
            <a:spcAft>
              <a:spcPct val="35000"/>
            </a:spcAft>
            <a:buNone/>
          </a:pPr>
          <a:r>
            <a:rPr lang="en-CH" sz="400" kern="1200" dirty="0">
              <a:solidFill>
                <a:schemeClr val="bg1"/>
              </a:solidFill>
            </a:rPr>
            <a:t>Développement de médicaments à but non lucratif </a:t>
          </a:r>
          <a:endParaRPr lang="en-US" sz="400" kern="1200" dirty="0">
            <a:solidFill>
              <a:schemeClr val="bg1"/>
            </a:solidFill>
          </a:endParaRPr>
        </a:p>
      </dsp:txBody>
      <dsp:txXfrm>
        <a:off x="249376" y="273289"/>
        <a:ext cx="376248" cy="279152"/>
      </dsp:txXfrm>
    </dsp:sp>
    <dsp:sp modelId="{7FB20AC5-19F6-4C40-B06E-B91AADD343EB}">
      <dsp:nvSpPr>
        <dsp:cNvPr id="0" name=""/>
        <dsp:cNvSpPr/>
      </dsp:nvSpPr>
      <dsp:spPr>
        <a:xfrm>
          <a:off x="118417" y="-1129"/>
          <a:ext cx="1145737" cy="1145737"/>
        </a:xfrm>
        <a:prstGeom prst="circularArrow">
          <a:avLst>
            <a:gd name="adj1" fmla="val 5085"/>
            <a:gd name="adj2" fmla="val 327528"/>
            <a:gd name="adj3" fmla="val 21272472"/>
            <a:gd name="adj4" fmla="val 16200000"/>
            <a:gd name="adj5" fmla="val 5932"/>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7FA0E3-C2F7-44C4-8638-14D8DA938170}">
      <dsp:nvSpPr>
        <dsp:cNvPr id="0" name=""/>
        <dsp:cNvSpPr/>
      </dsp:nvSpPr>
      <dsp:spPr>
        <a:xfrm>
          <a:off x="118417" y="33096"/>
          <a:ext cx="1145737" cy="1145737"/>
        </a:xfrm>
        <a:prstGeom prst="circularArrow">
          <a:avLst>
            <a:gd name="adj1" fmla="val 5085"/>
            <a:gd name="adj2" fmla="val 327528"/>
            <a:gd name="adj3" fmla="val 5072472"/>
            <a:gd name="adj4" fmla="val 0"/>
            <a:gd name="adj5" fmla="val 5932"/>
          </a:avLst>
        </a:prstGeom>
        <a:solidFill>
          <a:schemeClr val="accent3">
            <a:shade val="90000"/>
            <a:hueOff val="72025"/>
            <a:satOff val="-22124"/>
            <a:lumOff val="1217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2381FB1-FC83-4305-B481-7D2A47FA5F8A}">
      <dsp:nvSpPr>
        <dsp:cNvPr id="0" name=""/>
        <dsp:cNvSpPr/>
      </dsp:nvSpPr>
      <dsp:spPr>
        <a:xfrm>
          <a:off x="84191" y="33096"/>
          <a:ext cx="1145737" cy="1145737"/>
        </a:xfrm>
        <a:prstGeom prst="circularArrow">
          <a:avLst>
            <a:gd name="adj1" fmla="val 5085"/>
            <a:gd name="adj2" fmla="val 327528"/>
            <a:gd name="adj3" fmla="val 10472472"/>
            <a:gd name="adj4" fmla="val 5400000"/>
            <a:gd name="adj5" fmla="val 5932"/>
          </a:avLst>
        </a:prstGeom>
        <a:solidFill>
          <a:schemeClr val="accent3">
            <a:shade val="90000"/>
            <a:hueOff val="144050"/>
            <a:satOff val="-44248"/>
            <a:lumOff val="2433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9CB229-072F-4692-82DD-680D0660D823}">
      <dsp:nvSpPr>
        <dsp:cNvPr id="0" name=""/>
        <dsp:cNvSpPr/>
      </dsp:nvSpPr>
      <dsp:spPr>
        <a:xfrm>
          <a:off x="84191" y="-1129"/>
          <a:ext cx="1145737" cy="1145737"/>
        </a:xfrm>
        <a:prstGeom prst="circularArrow">
          <a:avLst>
            <a:gd name="adj1" fmla="val 5085"/>
            <a:gd name="adj2" fmla="val 327528"/>
            <a:gd name="adj3" fmla="val 15872472"/>
            <a:gd name="adj4" fmla="val 10800000"/>
            <a:gd name="adj5" fmla="val 5932"/>
          </a:avLst>
        </a:prstGeom>
        <a:solidFill>
          <a:schemeClr val="accent3">
            <a:shade val="90000"/>
            <a:hueOff val="216075"/>
            <a:satOff val="-66372"/>
            <a:lumOff val="36509"/>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FC8B75-4E9A-4104-80F7-1D046C5A82F0}">
      <dsp:nvSpPr>
        <dsp:cNvPr id="0" name=""/>
        <dsp:cNvSpPr/>
      </dsp:nvSpPr>
      <dsp:spPr>
        <a:xfrm>
          <a:off x="3789544" y="-104778"/>
          <a:ext cx="1790407" cy="13498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x-none" sz="2000" kern="1200" dirty="0"/>
            <a:t>Utilisation claire </a:t>
          </a:r>
          <a:r>
            <a:rPr lang="en-US" sz="2000" kern="1200" dirty="0"/>
            <a:t>des guides de </a:t>
          </a:r>
          <a:r>
            <a:rPr lang="en-US" sz="2000" kern="1200" dirty="0" err="1"/>
            <a:t>traitement</a:t>
          </a:r>
          <a:endParaRPr lang="en-US" sz="2000" kern="1200" dirty="0"/>
        </a:p>
      </dsp:txBody>
      <dsp:txXfrm>
        <a:off x="3855438" y="-38884"/>
        <a:ext cx="1658619" cy="1218050"/>
      </dsp:txXfrm>
    </dsp:sp>
    <dsp:sp modelId="{B2EF9079-7CD5-4F9F-809B-D2160F6234F9}">
      <dsp:nvSpPr>
        <dsp:cNvPr id="0" name=""/>
        <dsp:cNvSpPr/>
      </dsp:nvSpPr>
      <dsp:spPr>
        <a:xfrm>
          <a:off x="2602719" y="570140"/>
          <a:ext cx="4164057" cy="4164057"/>
        </a:xfrm>
        <a:custGeom>
          <a:avLst/>
          <a:gdLst/>
          <a:ahLst/>
          <a:cxnLst/>
          <a:rect l="0" t="0" r="0" b="0"/>
          <a:pathLst>
            <a:path>
              <a:moveTo>
                <a:pt x="2985165" y="206078"/>
              </a:moveTo>
              <a:arcTo wR="2082028" hR="2082028" stAng="17742450" swAng="1434129"/>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BDA7CE6-9556-468E-983E-5376D898872E}">
      <dsp:nvSpPr>
        <dsp:cNvPr id="0" name=""/>
        <dsp:cNvSpPr/>
      </dsp:nvSpPr>
      <dsp:spPr>
        <a:xfrm>
          <a:off x="5689421" y="1309742"/>
          <a:ext cx="1950909" cy="1398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x-none" sz="2000" kern="1200"/>
            <a:t>Financement externe</a:t>
          </a:r>
          <a:endParaRPr lang="en-US" sz="2000" kern="1200"/>
        </a:p>
      </dsp:txBody>
      <dsp:txXfrm>
        <a:off x="5757670" y="1377991"/>
        <a:ext cx="1814411" cy="1261591"/>
      </dsp:txXfrm>
    </dsp:sp>
    <dsp:sp modelId="{14F2D2E0-13DB-4DEC-BCEA-04BEC0616FAE}">
      <dsp:nvSpPr>
        <dsp:cNvPr id="0" name=""/>
        <dsp:cNvSpPr/>
      </dsp:nvSpPr>
      <dsp:spPr>
        <a:xfrm>
          <a:off x="2602239" y="592631"/>
          <a:ext cx="4164057" cy="4164057"/>
        </a:xfrm>
        <a:custGeom>
          <a:avLst/>
          <a:gdLst/>
          <a:ahLst/>
          <a:cxnLst/>
          <a:rect l="0" t="0" r="0" b="0"/>
          <a:pathLst>
            <a:path>
              <a:moveTo>
                <a:pt x="4163645" y="2123465"/>
              </a:moveTo>
              <a:arcTo wR="2082028" hR="2082028" stAng="68423" swAng="1346686"/>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9DF8742-D8DE-4609-93F2-033368B7095E}">
      <dsp:nvSpPr>
        <dsp:cNvPr id="0" name=""/>
        <dsp:cNvSpPr/>
      </dsp:nvSpPr>
      <dsp:spPr>
        <a:xfrm>
          <a:off x="5087187" y="3515272"/>
          <a:ext cx="2195147" cy="118672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x-none" sz="2000" kern="1200" dirty="0"/>
            <a:t>Soutien multipartenaire</a:t>
          </a:r>
          <a:endParaRPr lang="en-US" sz="2000" kern="1200" dirty="0"/>
        </a:p>
      </dsp:txBody>
      <dsp:txXfrm>
        <a:off x="5145118" y="3573203"/>
        <a:ext cx="2079285" cy="1070866"/>
      </dsp:txXfrm>
    </dsp:sp>
    <dsp:sp modelId="{76CA1D28-5C43-444D-B068-60033A4020B5}">
      <dsp:nvSpPr>
        <dsp:cNvPr id="0" name=""/>
        <dsp:cNvSpPr/>
      </dsp:nvSpPr>
      <dsp:spPr>
        <a:xfrm>
          <a:off x="2796226" y="549411"/>
          <a:ext cx="4164057" cy="4164057"/>
        </a:xfrm>
        <a:custGeom>
          <a:avLst/>
          <a:gdLst/>
          <a:ahLst/>
          <a:cxnLst/>
          <a:rect l="0" t="0" r="0" b="0"/>
          <a:pathLst>
            <a:path>
              <a:moveTo>
                <a:pt x="2294547" y="4153183"/>
              </a:moveTo>
              <a:arcTo wR="2082028" hR="2082028" stAng="5048487" swAng="931798"/>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F127F51F-0076-4185-93D5-5D45FDE350AC}">
      <dsp:nvSpPr>
        <dsp:cNvPr id="0" name=""/>
        <dsp:cNvSpPr/>
      </dsp:nvSpPr>
      <dsp:spPr>
        <a:xfrm>
          <a:off x="2185783" y="3545598"/>
          <a:ext cx="2337038" cy="129860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x-none" sz="2000" kern="1200" dirty="0"/>
            <a:t>Comités d'examen clinique</a:t>
          </a:r>
          <a:endParaRPr lang="en-US" sz="2000" kern="1200" dirty="0"/>
        </a:p>
      </dsp:txBody>
      <dsp:txXfrm>
        <a:off x="2249176" y="3608991"/>
        <a:ext cx="2210252" cy="1171822"/>
      </dsp:txXfrm>
    </dsp:sp>
    <dsp:sp modelId="{453E69E0-4C27-45D6-B555-BB74D4628FB7}">
      <dsp:nvSpPr>
        <dsp:cNvPr id="0" name=""/>
        <dsp:cNvSpPr/>
      </dsp:nvSpPr>
      <dsp:spPr>
        <a:xfrm>
          <a:off x="2599229" y="465713"/>
          <a:ext cx="4164057" cy="4164057"/>
        </a:xfrm>
        <a:custGeom>
          <a:avLst/>
          <a:gdLst/>
          <a:ahLst/>
          <a:cxnLst/>
          <a:rect l="0" t="0" r="0" b="0"/>
          <a:pathLst>
            <a:path>
              <a:moveTo>
                <a:pt x="250350" y="3071876"/>
              </a:moveTo>
              <a:arcTo wR="2082028" hR="2082028" stAng="9096780" swAng="1487042"/>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BA23F83-7DFF-4D8D-A639-6898E85BCD4A}">
      <dsp:nvSpPr>
        <dsp:cNvPr id="0" name=""/>
        <dsp:cNvSpPr/>
      </dsp:nvSpPr>
      <dsp:spPr>
        <a:xfrm>
          <a:off x="1555184" y="1348090"/>
          <a:ext cx="2298872" cy="132139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x-none" sz="2000" kern="1200" dirty="0"/>
            <a:t>Importation via une dérogation en attendant l'enregistrement</a:t>
          </a:r>
          <a:endParaRPr lang="en-US" sz="2000" kern="1200" dirty="0"/>
        </a:p>
      </dsp:txBody>
      <dsp:txXfrm>
        <a:off x="1619689" y="1412595"/>
        <a:ext cx="2169862" cy="1192384"/>
      </dsp:txXfrm>
    </dsp:sp>
    <dsp:sp modelId="{FC1FED21-9043-4F3D-AE36-A1D9804C7CCE}">
      <dsp:nvSpPr>
        <dsp:cNvPr id="0" name=""/>
        <dsp:cNvSpPr/>
      </dsp:nvSpPr>
      <dsp:spPr>
        <a:xfrm>
          <a:off x="2602719" y="570140"/>
          <a:ext cx="4164057" cy="4164057"/>
        </a:xfrm>
        <a:custGeom>
          <a:avLst/>
          <a:gdLst/>
          <a:ahLst/>
          <a:cxnLst/>
          <a:rect l="0" t="0" r="0" b="0"/>
          <a:pathLst>
            <a:path>
              <a:moveTo>
                <a:pt x="464829" y="770728"/>
              </a:moveTo>
              <a:arcTo wR="2082028" hR="2082028" stAng="13142204" swAng="1514545"/>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FBA989-742F-47BE-A13C-E561853C6C70}">
      <dsp:nvSpPr>
        <dsp:cNvPr id="0" name=""/>
        <dsp:cNvSpPr/>
      </dsp:nvSpPr>
      <dsp:spPr>
        <a:xfrm>
          <a:off x="0" y="5910996"/>
          <a:ext cx="8023539" cy="96974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CH" sz="1900" kern="1200"/>
            <a:t>Une approche en réseau</a:t>
          </a:r>
          <a:endParaRPr lang="en-US" sz="1900" kern="1200"/>
        </a:p>
      </dsp:txBody>
      <dsp:txXfrm>
        <a:off x="0" y="5910996"/>
        <a:ext cx="8023539" cy="523663"/>
      </dsp:txXfrm>
    </dsp:sp>
    <dsp:sp modelId="{D8E3A620-1333-4FE3-B66E-7503E5C7DA1D}">
      <dsp:nvSpPr>
        <dsp:cNvPr id="0" name=""/>
        <dsp:cNvSpPr/>
      </dsp:nvSpPr>
      <dsp:spPr>
        <a:xfrm>
          <a:off x="0" y="6415265"/>
          <a:ext cx="4011769" cy="44608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896" tIns="10160" rIns="56896" bIns="10160" numCol="1" spcCol="1270" anchor="ctr" anchorCtr="0">
          <a:noAutofit/>
        </a:bodyPr>
        <a:lstStyle/>
        <a:p>
          <a:pPr marL="0" lvl="0" indent="0" algn="ctr" defTabSz="355600">
            <a:lnSpc>
              <a:spcPct val="90000"/>
            </a:lnSpc>
            <a:spcBef>
              <a:spcPct val="0"/>
            </a:spcBef>
            <a:spcAft>
              <a:spcPct val="35000"/>
            </a:spcAft>
            <a:buNone/>
          </a:pPr>
          <a:r>
            <a:rPr lang="en-CH" sz="800" kern="1200"/>
            <a:t>Processus : identification des centres et des antennes associées (les critères d'évaluation des établissements visés pour l'accès aux antibiotiques ci-dessus peuvent être utilisés), conception des processus de circulation de l'information et de transfert des produits, estimation du coût de ces processus </a:t>
          </a:r>
          <a:endParaRPr lang="en-US" sz="800" kern="1200"/>
        </a:p>
      </dsp:txBody>
      <dsp:txXfrm>
        <a:off x="0" y="6415265"/>
        <a:ext cx="4011769" cy="446084"/>
      </dsp:txXfrm>
    </dsp:sp>
    <dsp:sp modelId="{60A0FDB2-D98B-4D6F-BBA0-86E7AC8FACA5}">
      <dsp:nvSpPr>
        <dsp:cNvPr id="0" name=""/>
        <dsp:cNvSpPr/>
      </dsp:nvSpPr>
      <dsp:spPr>
        <a:xfrm>
          <a:off x="4011769" y="6415265"/>
          <a:ext cx="4011769" cy="44608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896" tIns="10160" rIns="56896" bIns="10160" numCol="1" spcCol="1270" anchor="ctr" anchorCtr="0">
          <a:noAutofit/>
        </a:bodyPr>
        <a:lstStyle/>
        <a:p>
          <a:pPr marL="0" lvl="0" indent="0" algn="ctr" defTabSz="355600">
            <a:lnSpc>
              <a:spcPct val="90000"/>
            </a:lnSpc>
            <a:spcBef>
              <a:spcPct val="0"/>
            </a:spcBef>
            <a:spcAft>
              <a:spcPct val="35000"/>
            </a:spcAft>
            <a:buNone/>
          </a:pPr>
          <a:r>
            <a:rPr lang="en-CH" sz="800" kern="1200"/>
            <a:t>Parties prenantes : Direction des établissements et du système de santé, personnel informatique, logistique et achats </a:t>
          </a:r>
          <a:endParaRPr lang="en-US" sz="800" kern="1200"/>
        </a:p>
      </dsp:txBody>
      <dsp:txXfrm>
        <a:off x="4011769" y="6415265"/>
        <a:ext cx="4011769" cy="446084"/>
      </dsp:txXfrm>
    </dsp:sp>
    <dsp:sp modelId="{B2CD80A8-D82F-4044-BE38-B008CE797175}">
      <dsp:nvSpPr>
        <dsp:cNvPr id="0" name=""/>
        <dsp:cNvSpPr/>
      </dsp:nvSpPr>
      <dsp:spPr>
        <a:xfrm rot="10800000">
          <a:off x="0" y="4434069"/>
          <a:ext cx="8023539" cy="1491472"/>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CH" sz="1900" kern="1200"/>
            <a:t>Gestion au niveau des établissements</a:t>
          </a:r>
          <a:endParaRPr lang="en-US" sz="1900" kern="1200"/>
        </a:p>
      </dsp:txBody>
      <dsp:txXfrm rot="-10800000">
        <a:off x="0" y="4434069"/>
        <a:ext cx="8023539" cy="523506"/>
      </dsp:txXfrm>
    </dsp:sp>
    <dsp:sp modelId="{47547DD3-3B66-431D-B090-45447DF14D64}">
      <dsp:nvSpPr>
        <dsp:cNvPr id="0" name=""/>
        <dsp:cNvSpPr/>
      </dsp:nvSpPr>
      <dsp:spPr>
        <a:xfrm>
          <a:off x="0" y="4957576"/>
          <a:ext cx="4011769" cy="4459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896" tIns="10160" rIns="56896" bIns="10160" numCol="1" spcCol="1270" anchor="ctr" anchorCtr="0">
          <a:noAutofit/>
        </a:bodyPr>
        <a:lstStyle/>
        <a:p>
          <a:pPr marL="0" lvl="0" indent="0" algn="ctr" defTabSz="355600">
            <a:lnSpc>
              <a:spcPct val="90000"/>
            </a:lnSpc>
            <a:spcBef>
              <a:spcPct val="0"/>
            </a:spcBef>
            <a:spcAft>
              <a:spcPct val="35000"/>
            </a:spcAft>
            <a:buNone/>
          </a:pPr>
          <a:r>
            <a:rPr lang="en-CH" sz="800" kern="1200"/>
            <a:t>Processus : évaluation des pratiques actuelles de gestion, des ressources des établissements ciblés pour l'accès aux antibiotiques de réserve. Plan de renforcement de la gestion, comprenant soit un audit prospectif, soit une autorisation préalable, en envisageant l'inclusion du transfert de tâches </a:t>
          </a:r>
          <a:endParaRPr lang="en-US" sz="800" kern="1200"/>
        </a:p>
      </dsp:txBody>
      <dsp:txXfrm>
        <a:off x="0" y="4957576"/>
        <a:ext cx="4011769" cy="445950"/>
      </dsp:txXfrm>
    </dsp:sp>
    <dsp:sp modelId="{7E2D221D-E3FD-4386-B30A-3F0485B67D55}">
      <dsp:nvSpPr>
        <dsp:cNvPr id="0" name=""/>
        <dsp:cNvSpPr/>
      </dsp:nvSpPr>
      <dsp:spPr>
        <a:xfrm>
          <a:off x="4011769" y="4957576"/>
          <a:ext cx="4011769" cy="4459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896" tIns="10160" rIns="56896" bIns="10160" numCol="1" spcCol="1270" anchor="ctr" anchorCtr="0">
          <a:noAutofit/>
        </a:bodyPr>
        <a:lstStyle/>
        <a:p>
          <a:pPr marL="0" lvl="0" indent="0" algn="ctr" defTabSz="355600">
            <a:lnSpc>
              <a:spcPct val="90000"/>
            </a:lnSpc>
            <a:spcBef>
              <a:spcPct val="0"/>
            </a:spcBef>
            <a:spcAft>
              <a:spcPct val="35000"/>
            </a:spcAft>
            <a:buNone/>
          </a:pPr>
          <a:r>
            <a:rPr lang="en-CH" sz="800" kern="1200"/>
            <a:t>Parties prenantes : responsables des établissements, spécialistes des maladies infectieuses, pharmaciens et unités qui utilisent fréquemment les antibiotiques de réserve, organismes professionnels, parties prenantes chargées des politiques pertinentes en matière de transfert de tâches</a:t>
          </a:r>
          <a:endParaRPr lang="en-US" sz="800" kern="1200"/>
        </a:p>
      </dsp:txBody>
      <dsp:txXfrm>
        <a:off x="4011769" y="4957576"/>
        <a:ext cx="4011769" cy="445950"/>
      </dsp:txXfrm>
    </dsp:sp>
    <dsp:sp modelId="{CEAD9392-1E1C-4FC1-AC49-21589408649B}">
      <dsp:nvSpPr>
        <dsp:cNvPr id="0" name=""/>
        <dsp:cNvSpPr/>
      </dsp:nvSpPr>
      <dsp:spPr>
        <a:xfrm rot="10800000">
          <a:off x="0" y="2957143"/>
          <a:ext cx="8023539" cy="1491472"/>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CH" sz="1900" kern="1200"/>
            <a:t>Cibler la disponibilité vers les établissements appropriés</a:t>
          </a:r>
          <a:endParaRPr lang="en-US" sz="1900" kern="1200"/>
        </a:p>
      </dsp:txBody>
      <dsp:txXfrm rot="-10800000">
        <a:off x="0" y="2957143"/>
        <a:ext cx="8023539" cy="523506"/>
      </dsp:txXfrm>
    </dsp:sp>
    <dsp:sp modelId="{05ACEDE5-3AE9-46EE-B532-B691C988AA28}">
      <dsp:nvSpPr>
        <dsp:cNvPr id="0" name=""/>
        <dsp:cNvSpPr/>
      </dsp:nvSpPr>
      <dsp:spPr>
        <a:xfrm>
          <a:off x="0" y="3480650"/>
          <a:ext cx="4011769" cy="4459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896" tIns="10160" rIns="56896" bIns="10160" numCol="1" spcCol="1270" anchor="ctr" anchorCtr="0">
          <a:noAutofit/>
        </a:bodyPr>
        <a:lstStyle/>
        <a:p>
          <a:pPr marL="0" lvl="0" indent="0" algn="ctr" defTabSz="355600">
            <a:lnSpc>
              <a:spcPct val="90000"/>
            </a:lnSpc>
            <a:spcBef>
              <a:spcPct val="0"/>
            </a:spcBef>
            <a:spcAft>
              <a:spcPct val="35000"/>
            </a:spcAft>
            <a:buNone/>
          </a:pPr>
          <a:r>
            <a:rPr lang="en-CH" sz="800" kern="1200"/>
            <a:t>Processus : critères d'accès ou niveau de l'établissement pour l'accès aux antibiotiques de réserve convenus, établissements évalués selon ces critères, niveau de l'établissement ou approbation sur la base des critères inclus dans les directives et le remboursement</a:t>
          </a:r>
          <a:endParaRPr lang="en-US" sz="800" kern="1200"/>
        </a:p>
      </dsp:txBody>
      <dsp:txXfrm>
        <a:off x="0" y="3480650"/>
        <a:ext cx="4011769" cy="445950"/>
      </dsp:txXfrm>
    </dsp:sp>
    <dsp:sp modelId="{DE17F938-CB53-4989-B6B3-B26770AA1502}">
      <dsp:nvSpPr>
        <dsp:cNvPr id="0" name=""/>
        <dsp:cNvSpPr/>
      </dsp:nvSpPr>
      <dsp:spPr>
        <a:xfrm>
          <a:off x="4011769" y="3480650"/>
          <a:ext cx="4011769" cy="4459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896" tIns="10160" rIns="56896" bIns="10160" numCol="1" spcCol="1270" anchor="ctr" anchorCtr="0">
          <a:noAutofit/>
        </a:bodyPr>
        <a:lstStyle/>
        <a:p>
          <a:pPr marL="0" lvl="0" indent="0" algn="ctr" defTabSz="355600">
            <a:lnSpc>
              <a:spcPct val="90000"/>
            </a:lnSpc>
            <a:spcBef>
              <a:spcPct val="0"/>
            </a:spcBef>
            <a:spcAft>
              <a:spcPct val="35000"/>
            </a:spcAft>
            <a:buNone/>
          </a:pPr>
          <a:r>
            <a:rPr lang="en-CH" sz="800" kern="1200"/>
            <a:t>Parties prenantes : ministère de la Santé, représentants des systèmes de santé privés, des programmes d'assurance et des programmes nationaux de prestations de santé, groupes de patients</a:t>
          </a:r>
          <a:endParaRPr lang="en-US" sz="800" kern="1200"/>
        </a:p>
      </dsp:txBody>
      <dsp:txXfrm>
        <a:off x="4011769" y="3480650"/>
        <a:ext cx="4011769" cy="445950"/>
      </dsp:txXfrm>
    </dsp:sp>
    <dsp:sp modelId="{B3739BAE-4274-48C7-8072-66DDA0825629}">
      <dsp:nvSpPr>
        <dsp:cNvPr id="0" name=""/>
        <dsp:cNvSpPr/>
      </dsp:nvSpPr>
      <dsp:spPr>
        <a:xfrm rot="10800000">
          <a:off x="0" y="1480217"/>
          <a:ext cx="8023539" cy="1491472"/>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CH" sz="1900" kern="1200"/>
            <a:t>Enregistrement</a:t>
          </a:r>
          <a:endParaRPr lang="en-US" sz="1900" kern="1200"/>
        </a:p>
      </dsp:txBody>
      <dsp:txXfrm rot="-10800000">
        <a:off x="0" y="1480217"/>
        <a:ext cx="8023539" cy="523506"/>
      </dsp:txXfrm>
    </dsp:sp>
    <dsp:sp modelId="{38930926-D375-4295-AEDA-99AEBE3EE89C}">
      <dsp:nvSpPr>
        <dsp:cNvPr id="0" name=""/>
        <dsp:cNvSpPr/>
      </dsp:nvSpPr>
      <dsp:spPr>
        <a:xfrm>
          <a:off x="0" y="2003723"/>
          <a:ext cx="4011769" cy="4459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896" tIns="10160" rIns="56896" bIns="10160" numCol="1" spcCol="1270" anchor="ctr" anchorCtr="0">
          <a:noAutofit/>
        </a:bodyPr>
        <a:lstStyle/>
        <a:p>
          <a:pPr marL="0" lvl="0" indent="0" algn="ctr" defTabSz="355600">
            <a:lnSpc>
              <a:spcPct val="90000"/>
            </a:lnSpc>
            <a:spcBef>
              <a:spcPct val="0"/>
            </a:spcBef>
            <a:spcAft>
              <a:spcPct val="35000"/>
            </a:spcAft>
            <a:buNone/>
          </a:pPr>
          <a:r>
            <a:rPr lang="en-CH" sz="800" kern="1200" dirty="0"/>
            <a:t>Processus : prise de décision conjointe entre le ministère de la Santé et les autorités réglementaires nationales afin de relier les produits prioritaires à des procédures d'enregistrement accélérées, le ministère de la Santé aide les autorités réglementaires nationales à créer des étiquettes d'utilisation limitée. </a:t>
          </a:r>
          <a:endParaRPr lang="en-US" sz="800" kern="1200" dirty="0"/>
        </a:p>
      </dsp:txBody>
      <dsp:txXfrm>
        <a:off x="0" y="2003723"/>
        <a:ext cx="4011769" cy="445950"/>
      </dsp:txXfrm>
    </dsp:sp>
    <dsp:sp modelId="{E7E4A2A5-927E-4AA2-B081-0F1530E94665}">
      <dsp:nvSpPr>
        <dsp:cNvPr id="0" name=""/>
        <dsp:cNvSpPr/>
      </dsp:nvSpPr>
      <dsp:spPr>
        <a:xfrm>
          <a:off x="4011769" y="2003723"/>
          <a:ext cx="4011769" cy="4459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896" tIns="10160" rIns="56896" bIns="10160" numCol="1" spcCol="1270" anchor="ctr" anchorCtr="0">
          <a:noAutofit/>
        </a:bodyPr>
        <a:lstStyle/>
        <a:p>
          <a:pPr marL="0" lvl="0" indent="0" algn="ctr" defTabSz="355600">
            <a:lnSpc>
              <a:spcPct val="90000"/>
            </a:lnSpc>
            <a:spcBef>
              <a:spcPct val="0"/>
            </a:spcBef>
            <a:spcAft>
              <a:spcPct val="35000"/>
            </a:spcAft>
            <a:buNone/>
          </a:pPr>
          <a:r>
            <a:rPr lang="en-CH" sz="800" kern="1200"/>
            <a:t>Parties prenantes : Ministère de la Santé, autorités réglementaires nationales</a:t>
          </a:r>
          <a:endParaRPr lang="en-US" sz="800" kern="1200"/>
        </a:p>
      </dsp:txBody>
      <dsp:txXfrm>
        <a:off x="4011769" y="2003723"/>
        <a:ext cx="4011769" cy="445950"/>
      </dsp:txXfrm>
    </dsp:sp>
    <dsp:sp modelId="{7AADF928-1218-4220-8877-DBCB06208513}">
      <dsp:nvSpPr>
        <dsp:cNvPr id="0" name=""/>
        <dsp:cNvSpPr/>
      </dsp:nvSpPr>
      <dsp:spPr>
        <a:xfrm rot="10800000">
          <a:off x="0" y="3290"/>
          <a:ext cx="8023539" cy="1491472"/>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CH" sz="1900" kern="1200" dirty="0"/>
            <a:t>Priorisation des produits et orientation</a:t>
          </a:r>
          <a:endParaRPr lang="en-US" sz="1900" kern="1200" dirty="0"/>
        </a:p>
      </dsp:txBody>
      <dsp:txXfrm rot="-10800000">
        <a:off x="0" y="3290"/>
        <a:ext cx="8023539" cy="523506"/>
      </dsp:txXfrm>
    </dsp:sp>
    <dsp:sp modelId="{ACE52AB6-E165-4DEE-8D60-309DE8E213BE}">
      <dsp:nvSpPr>
        <dsp:cNvPr id="0" name=""/>
        <dsp:cNvSpPr/>
      </dsp:nvSpPr>
      <dsp:spPr>
        <a:xfrm>
          <a:off x="0" y="526797"/>
          <a:ext cx="4011769" cy="4459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896" tIns="10160" rIns="56896" bIns="10160" numCol="1" spcCol="1270" anchor="ctr" anchorCtr="0">
          <a:noAutofit/>
        </a:bodyPr>
        <a:lstStyle/>
        <a:p>
          <a:pPr marL="0" lvl="0" indent="0" algn="ctr" defTabSz="355600">
            <a:lnSpc>
              <a:spcPct val="90000"/>
            </a:lnSpc>
            <a:spcBef>
              <a:spcPct val="0"/>
            </a:spcBef>
            <a:spcAft>
              <a:spcPct val="35000"/>
            </a:spcAft>
            <a:buNone/>
          </a:pPr>
          <a:r>
            <a:rPr lang="en-CH" sz="800" kern="1200" dirty="0"/>
            <a:t>Processus : consolider les informations sur l'épidémiologie locale, la charge de morbidité, les formulaires actuels et les besoins non satisfaits afin de faciliter la hiérarchisation et l'élaboration de lignes directrices.</a:t>
          </a:r>
          <a:endParaRPr lang="en-US" sz="800" kern="1200" dirty="0"/>
        </a:p>
      </dsp:txBody>
      <dsp:txXfrm>
        <a:off x="0" y="526797"/>
        <a:ext cx="4011769" cy="445950"/>
      </dsp:txXfrm>
    </dsp:sp>
    <dsp:sp modelId="{93BF704C-D971-489D-864A-6B90E5BEFC8A}">
      <dsp:nvSpPr>
        <dsp:cNvPr id="0" name=""/>
        <dsp:cNvSpPr/>
      </dsp:nvSpPr>
      <dsp:spPr>
        <a:xfrm>
          <a:off x="4011769" y="526797"/>
          <a:ext cx="4011769" cy="4459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896" tIns="10160" rIns="56896" bIns="10160" numCol="1" spcCol="1270" anchor="ctr" anchorCtr="0">
          <a:noAutofit/>
        </a:bodyPr>
        <a:lstStyle/>
        <a:p>
          <a:pPr marL="0" lvl="0" indent="0" algn="ctr" defTabSz="355600">
            <a:lnSpc>
              <a:spcPct val="90000"/>
            </a:lnSpc>
            <a:spcBef>
              <a:spcPct val="0"/>
            </a:spcBef>
            <a:spcAft>
              <a:spcPct val="35000"/>
            </a:spcAft>
            <a:buNone/>
          </a:pPr>
          <a:r>
            <a:rPr lang="en-CH" sz="800" kern="1200" dirty="0"/>
            <a:t>Parties prenantes : ministère de la Santé, experts en maladies infectieuses, groupes de patients, autorités réglementaires nationales</a:t>
          </a:r>
          <a:endParaRPr lang="en-US" sz="800" kern="1200" dirty="0"/>
        </a:p>
      </dsp:txBody>
      <dsp:txXfrm>
        <a:off x="4011769" y="526797"/>
        <a:ext cx="4011769" cy="445950"/>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217C3D0-5203-61E8-4C16-7F5A953AABDE}"/>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CH"/>
          </a:p>
        </p:txBody>
      </p:sp>
      <p:sp>
        <p:nvSpPr>
          <p:cNvPr id="3" name="Date Placeholder 2">
            <a:extLst>
              <a:ext uri="{FF2B5EF4-FFF2-40B4-BE49-F238E27FC236}">
                <a16:creationId xmlns:a16="http://schemas.microsoft.com/office/drawing/2014/main" id="{035F5304-A6B5-C641-F01F-5FD36E769BF4}"/>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CD1FBE97-87E3-4DEF-B893-E57E21557680}" type="datetimeFigureOut">
              <a:rPr lang="en-CH" smtClean="0"/>
              <a:t>01/09/2026</a:t>
            </a:fld>
            <a:endParaRPr lang="en-CH"/>
          </a:p>
        </p:txBody>
      </p:sp>
      <p:sp>
        <p:nvSpPr>
          <p:cNvPr id="4" name="Footer Placeholder 3">
            <a:extLst>
              <a:ext uri="{FF2B5EF4-FFF2-40B4-BE49-F238E27FC236}">
                <a16:creationId xmlns:a16="http://schemas.microsoft.com/office/drawing/2014/main" id="{E8A2ACCC-C0D7-ADC4-46D9-8A9CE35E150E}"/>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CH"/>
          </a:p>
        </p:txBody>
      </p:sp>
      <p:sp>
        <p:nvSpPr>
          <p:cNvPr id="5" name="Slide Number Placeholder 4">
            <a:extLst>
              <a:ext uri="{FF2B5EF4-FFF2-40B4-BE49-F238E27FC236}">
                <a16:creationId xmlns:a16="http://schemas.microsoft.com/office/drawing/2014/main" id="{74A32617-53AE-253F-2CAE-17C6C1C34200}"/>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32FDE01B-2B43-4DC2-B8AF-0EDDE87A7411}" type="slidenum">
              <a:rPr lang="en-CH" smtClean="0"/>
              <a:t>‹#›</a:t>
            </a:fld>
            <a:endParaRPr lang="en-CH"/>
          </a:p>
        </p:txBody>
      </p:sp>
    </p:spTree>
    <p:extLst>
      <p:ext uri="{BB962C8B-B14F-4D97-AF65-F5344CB8AC3E}">
        <p14:creationId xmlns:p14="http://schemas.microsoft.com/office/powerpoint/2010/main" val="1381670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GB"/>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36BFE964-9EC6-49B3-AA9F-5053257A0C71}" type="datetimeFigureOut">
              <a:rPr lang="en-GB" smtClean="0"/>
              <a:t>09/01/2026</a:t>
            </a:fld>
            <a:endParaRPr lang="en-GB"/>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GB"/>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quez pour modifier les styles de texte principaux</a:t>
            </a:r>
          </a:p>
          <a:p>
            <a:pPr lvl="1"/>
            <a:r>
              <a:rPr lang="en-US"/>
              <a:t>Deuxième niveau</a:t>
            </a:r>
          </a:p>
          <a:p>
            <a:pPr lvl="2"/>
            <a:r>
              <a:rPr lang="en-US"/>
              <a:t>Troisième niveau</a:t>
            </a:r>
          </a:p>
          <a:p>
            <a:pPr lvl="3"/>
            <a:r>
              <a:rPr lang="en-US"/>
              <a:t>Quatrième niveau</a:t>
            </a:r>
          </a:p>
          <a:p>
            <a:pPr lvl="4"/>
            <a:r>
              <a:rPr lang="en-US"/>
              <a:t>Cinquième niveau</a:t>
            </a:r>
            <a:endParaRPr lang="en-GB"/>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GB"/>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FA020081-9AAB-45EA-AB3A-9C9B4E7DEEAF}" type="slidenum">
              <a:rPr lang="en-GB" smtClean="0"/>
              <a:t>‹#›</a:t>
            </a:fld>
            <a:endParaRPr lang="en-GB"/>
          </a:p>
        </p:txBody>
      </p:sp>
    </p:spTree>
    <p:extLst>
      <p:ext uri="{BB962C8B-B14F-4D97-AF65-F5344CB8AC3E}">
        <p14:creationId xmlns:p14="http://schemas.microsoft.com/office/powerpoint/2010/main" val="4369764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28"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H" dirty="0"/>
              <a:t>Merci de m'avoir invité à cet événement </a:t>
            </a:r>
            <a:r>
              <a:rPr lang="en-US" dirty="0"/>
              <a:t>important</a:t>
            </a:r>
            <a:r>
              <a:rPr lang="en-CH" dirty="0"/>
              <a:t>. </a:t>
            </a:r>
            <a:endParaRPr lang="en-US" dirty="0"/>
          </a:p>
        </p:txBody>
      </p:sp>
      <p:sp>
        <p:nvSpPr>
          <p:cNvPr id="4" name="Slide Number Placeholder 3"/>
          <p:cNvSpPr>
            <a:spLocks noGrp="1"/>
          </p:cNvSpPr>
          <p:nvPr>
            <p:ph type="sldNum" sz="quarter" idx="5"/>
          </p:nvPr>
        </p:nvSpPr>
        <p:spPr/>
        <p:txBody>
          <a:bodyPr/>
          <a:lstStyle/>
          <a:p>
            <a:fld id="{FA020081-9AAB-45EA-AB3A-9C9B4E7DEEAF}" type="slidenum">
              <a:rPr lang="en-GB" smtClean="0"/>
              <a:t>1</a:t>
            </a:fld>
            <a:endParaRPr lang="en-GB"/>
          </a:p>
        </p:txBody>
      </p:sp>
    </p:spTree>
    <p:extLst>
      <p:ext uri="{BB962C8B-B14F-4D97-AF65-F5344CB8AC3E}">
        <p14:creationId xmlns:p14="http://schemas.microsoft.com/office/powerpoint/2010/main" val="2258336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020081-9AAB-45EA-AB3A-9C9B4E7DEEAF}" type="slidenum">
              <a:rPr lang="en-GB" smtClean="0"/>
              <a:t>10</a:t>
            </a:fld>
            <a:endParaRPr lang="en-GB"/>
          </a:p>
        </p:txBody>
      </p:sp>
    </p:spTree>
    <p:extLst>
      <p:ext uri="{BB962C8B-B14F-4D97-AF65-F5344CB8AC3E}">
        <p14:creationId xmlns:p14="http://schemas.microsoft.com/office/powerpoint/2010/main" val="3459596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H" dirty="0"/>
              <a:t>Tout d'abord, je pense que nous pouvons tirer des enseignements clés des programmes précédents, tant dans le domaine des antibiotiques qu'au-delà. Par exemple, l'introduction de </a:t>
            </a:r>
            <a:r>
              <a:rPr lang="en-CH" dirty="0" err="1"/>
              <a:t>la bédaquiline</a:t>
            </a:r>
            <a:r>
              <a:rPr lang="en-CH" dirty="0"/>
              <a:t>, un nouveau traitement contre la tuberculose multirésistante, peut servir de guide utile. Une analyse de cinq pays à revenu faible et intermédiaire ayant adopté rapidement ce traitement a permis d'identifier cinq interventions clés qui ont contribué à améliorer l'accès à </a:t>
            </a:r>
            <a:r>
              <a:rPr lang="en-CH" dirty="0" err="1"/>
              <a:t>la bédaquiline</a:t>
            </a:r>
            <a:r>
              <a:rPr lang="en-CH" dirty="0"/>
              <a:t> et son utilisation appropriée</a:t>
            </a:r>
            <a:r>
              <a:rPr lang="en-CH" dirty="0" err="1"/>
              <a:t>. </a:t>
            </a:r>
            <a:r>
              <a:rPr lang="en-CH" dirty="0"/>
              <a:t>Plus précisément... Bien que la RAM ne bénéficie pas du même niveau de financement externe que la tuberculose, il existe certainement des enseignements applicables qui peuvent être tirés pour introduire avec succès et </a:t>
            </a:r>
            <a:r>
              <a:rPr lang="en-CH" dirty="0" err="1"/>
              <a:t>de manière appropriée </a:t>
            </a:r>
            <a:r>
              <a:rPr lang="en-CH" dirty="0"/>
              <a:t>de nouveaux antibiotiques dans </a:t>
            </a:r>
            <a:r>
              <a:rPr lang="en-CH" dirty="0" err="1"/>
              <a:t>les PRFI</a:t>
            </a:r>
            <a:r>
              <a:rPr lang="en-CH" dirty="0"/>
              <a:t>. </a:t>
            </a:r>
            <a:endParaRPr lang="en-US" dirty="0"/>
          </a:p>
        </p:txBody>
      </p:sp>
      <p:sp>
        <p:nvSpPr>
          <p:cNvPr id="4" name="Slide Number Placeholder 3"/>
          <p:cNvSpPr>
            <a:spLocks noGrp="1"/>
          </p:cNvSpPr>
          <p:nvPr>
            <p:ph type="sldNum" sz="quarter" idx="5"/>
          </p:nvPr>
        </p:nvSpPr>
        <p:spPr/>
        <p:txBody>
          <a:bodyPr/>
          <a:lstStyle/>
          <a:p>
            <a:pPr defTabSz="931774">
              <a:defRPr/>
            </a:pPr>
            <a:fld id="{FA020081-9AAB-45EA-AB3A-9C9B4E7DEEAF}" type="slidenum">
              <a:rPr lang="en-GB">
                <a:solidFill>
                  <a:prstClr val="black"/>
                </a:solidFill>
                <a:latin typeface="Calibri" panose="020F0502020204030204"/>
              </a:rPr>
              <a:pPr defTabSz="931774">
                <a:defRPr/>
              </a:pPr>
              <a:t>11</a:t>
            </a:fld>
            <a:endParaRPr lang="en-GB">
              <a:solidFill>
                <a:prstClr val="black"/>
              </a:solidFill>
              <a:latin typeface="Calibri" panose="020F0502020204030204"/>
            </a:endParaRPr>
          </a:p>
        </p:txBody>
      </p:sp>
    </p:spTree>
    <p:extLst>
      <p:ext uri="{BB962C8B-B14F-4D97-AF65-F5344CB8AC3E}">
        <p14:creationId xmlns:p14="http://schemas.microsoft.com/office/powerpoint/2010/main" val="7936552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H" dirty="0"/>
              <a:t>La plupart des interventions dont je viens de parler se situent au-dessus du niveau des établissements. Que peut-on faire au niveau des établissements pour améliorer à la fois la prise de décision clinique et l'accès aux bons produits pour le bon patient au bon moment </a:t>
            </a:r>
            <a:r>
              <a:rPr lang="en-CH"/>
              <a:t>? </a:t>
            </a:r>
            <a:endParaRPr lang="en-US" dirty="0"/>
          </a:p>
        </p:txBody>
      </p:sp>
      <p:sp>
        <p:nvSpPr>
          <p:cNvPr id="4" name="Slide Number Placeholder 3"/>
          <p:cNvSpPr>
            <a:spLocks noGrp="1"/>
          </p:cNvSpPr>
          <p:nvPr>
            <p:ph type="sldNum" sz="quarter" idx="5"/>
          </p:nvPr>
        </p:nvSpPr>
        <p:spPr/>
        <p:txBody>
          <a:bodyPr/>
          <a:lstStyle/>
          <a:p>
            <a:pPr defTabSz="931774">
              <a:defRPr/>
            </a:pPr>
            <a:fld id="{FA020081-9AAB-45EA-AB3A-9C9B4E7DEEAF}" type="slidenum">
              <a:rPr lang="en-GB">
                <a:solidFill>
                  <a:prstClr val="black"/>
                </a:solidFill>
                <a:latin typeface="Calibri" panose="020F0502020204030204"/>
              </a:rPr>
              <a:pPr defTabSz="931774">
                <a:defRPr/>
              </a:pPr>
              <a:t>12</a:t>
            </a:fld>
            <a:endParaRPr lang="en-GB">
              <a:solidFill>
                <a:prstClr val="black"/>
              </a:solidFill>
              <a:latin typeface="Calibri" panose="020F0502020204030204"/>
            </a:endParaRPr>
          </a:p>
        </p:txBody>
      </p:sp>
    </p:spTree>
    <p:extLst>
      <p:ext uri="{BB962C8B-B14F-4D97-AF65-F5344CB8AC3E}">
        <p14:creationId xmlns:p14="http://schemas.microsoft.com/office/powerpoint/2010/main" val="20711236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H" dirty="0"/>
              <a:t>Et comment pouvons-nous mettre en œuvre une meilleure prise de décision clinique et une administration appropriée des antibiotiques ? Cela commence par la hiérarchisation des antibiotiques au niveau national ou régional et le renforcement des recommandations. Cette hiérarchisation peut être utilisée pour mettre à jour les listes de médicaments essentiels, orienter les politiques de remboursement publiques ou basées sur les assurances et, pour les produits non encore enregistrés, identifier les candidats potentiels à des procédures d'enregistrement ou de reconnaissance accélérées. Ensuite, les systèmes de santé publics et privés peuvent examiner quels établissements devraient être ciblés pour la mise à disposition de différentes catégories d'antibiotiques</a:t>
            </a:r>
            <a:r>
              <a:rPr lang="en-CH"/>
              <a:t>. </a:t>
            </a:r>
            <a:endParaRPr lang="en-US" dirty="0"/>
          </a:p>
        </p:txBody>
      </p:sp>
      <p:sp>
        <p:nvSpPr>
          <p:cNvPr id="4" name="Slide Number Placeholder 3"/>
          <p:cNvSpPr>
            <a:spLocks noGrp="1"/>
          </p:cNvSpPr>
          <p:nvPr>
            <p:ph type="sldNum" sz="quarter" idx="5"/>
          </p:nvPr>
        </p:nvSpPr>
        <p:spPr/>
        <p:txBody>
          <a:bodyPr/>
          <a:lstStyle/>
          <a:p>
            <a:pPr defTabSz="931774">
              <a:defRPr/>
            </a:pPr>
            <a:fld id="{FA020081-9AAB-45EA-AB3A-9C9B4E7DEEAF}" type="slidenum">
              <a:rPr lang="en-GB">
                <a:solidFill>
                  <a:prstClr val="black"/>
                </a:solidFill>
                <a:latin typeface="Calibri" panose="020F0502020204030204"/>
              </a:rPr>
              <a:pPr defTabSz="931774">
                <a:defRPr/>
              </a:pPr>
              <a:t>13</a:t>
            </a:fld>
            <a:endParaRPr lang="en-GB">
              <a:solidFill>
                <a:prstClr val="black"/>
              </a:solidFill>
              <a:latin typeface="Calibri" panose="020F0502020204030204"/>
            </a:endParaRPr>
          </a:p>
        </p:txBody>
      </p:sp>
    </p:spTree>
    <p:extLst>
      <p:ext uri="{BB962C8B-B14F-4D97-AF65-F5344CB8AC3E}">
        <p14:creationId xmlns:p14="http://schemas.microsoft.com/office/powerpoint/2010/main" val="35628698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CH" dirty="0"/>
              <a:t>Enfin, je vais utiliser un seul exemple – le cas du </a:t>
            </a:r>
            <a:r>
              <a:rPr lang="en-CH" dirty="0" err="1"/>
              <a:t>céfiderocol </a:t>
            </a:r>
            <a:r>
              <a:rPr lang="en-CH" dirty="0"/>
              <a:t>– pour illustrer comment nous pouvons améliorer l'accès aux antibiotiques afin de répondre aux besoins en matière de santé publique. </a:t>
            </a:r>
            <a:endParaRPr lang="en-US" dirty="0"/>
          </a:p>
        </p:txBody>
      </p:sp>
    </p:spTree>
    <p:extLst>
      <p:ext uri="{BB962C8B-B14F-4D97-AF65-F5344CB8AC3E}">
        <p14:creationId xmlns:p14="http://schemas.microsoft.com/office/powerpoint/2010/main" val="27837670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61766"/>
            <a:r>
              <a:rPr lang="en-CH"/>
              <a:t>Un problème multiforme nécessite une solution multiforme. La vision </a:t>
            </a:r>
            <a:r>
              <a:rPr lang="en-CH" err="1"/>
              <a:t>du GARDP </a:t>
            </a:r>
            <a:r>
              <a:rPr lang="en-CH"/>
              <a:t>est d'accélérer l'accès aux </a:t>
            </a:r>
            <a:r>
              <a:rPr lang="en-CH" err="1"/>
              <a:t>antibiotiques</a:t>
            </a:r>
            <a:r>
              <a:rPr lang="en-CH"/>
              <a:t> prioritaires, afin de garantir que les antibiotiques de notre propre portefeuille soient accessibles à l'aide de certains des outils que j'ai mentionnés précédemment, mais aussi de changer la manière dont nous rendons les antibiotiques accessibles, même pour les produits qui ne font pas partie du portefeuille du GARDP. Pour ce faire, nous utilisons certains de nos produits comme précurseurs, en nous concentrant sur le développement de modèles d'accès reproductibles et utilisables pour améliorer l'accès et l'introduction d'autres nouveaux antibiotiques. Nous sommes également conscients que nous ne pouvons pas y parvenir seuls. Nous profitons donc de notre portefeuille de produits pour rassembler et renforcer un écosystème d'accès composé de partenaires capables de travailler sur des questions clés telles que l'approvisionnement, le renforcement des systèmes de diagnostic et la sensibilisation.</a:t>
            </a:r>
          </a:p>
        </p:txBody>
      </p:sp>
    </p:spTree>
    <p:extLst>
      <p:ext uri="{BB962C8B-B14F-4D97-AF65-F5344CB8AC3E}">
        <p14:creationId xmlns:p14="http://schemas.microsoft.com/office/powerpoint/2010/main" val="8416848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020081-9AAB-45EA-AB3A-9C9B4E7DEEAF}" type="slidenum">
              <a:rPr lang="en-GB" smtClean="0"/>
              <a:t>16</a:t>
            </a:fld>
            <a:endParaRPr lang="en-GB"/>
          </a:p>
        </p:txBody>
      </p:sp>
    </p:spTree>
    <p:extLst>
      <p:ext uri="{BB962C8B-B14F-4D97-AF65-F5344CB8AC3E}">
        <p14:creationId xmlns:p14="http://schemas.microsoft.com/office/powerpoint/2010/main" val="4497566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020081-9AAB-45EA-AB3A-9C9B4E7DEEAF}" type="slidenum">
              <a:rPr lang="en-GB" smtClean="0"/>
              <a:t>17</a:t>
            </a:fld>
            <a:endParaRPr lang="en-GB"/>
          </a:p>
        </p:txBody>
      </p:sp>
    </p:spTree>
    <p:extLst>
      <p:ext uri="{BB962C8B-B14F-4D97-AF65-F5344CB8AC3E}">
        <p14:creationId xmlns:p14="http://schemas.microsoft.com/office/powerpoint/2010/main" val="3474712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FA020081-9AAB-45EA-AB3A-9C9B4E7DEEAF}" type="slidenum">
              <a:rPr lang="en-GB">
                <a:solidFill>
                  <a:prstClr val="black"/>
                </a:solidFill>
                <a:latin typeface="Calibri" panose="020F0502020204030204"/>
              </a:rPr>
              <a:pPr defTabSz="931774">
                <a:defRPr/>
              </a:pPr>
              <a:t>18</a:t>
            </a:fld>
            <a:endParaRPr lang="en-GB">
              <a:solidFill>
                <a:prstClr val="black"/>
              </a:solidFill>
              <a:latin typeface="Calibri" panose="020F0502020204030204"/>
            </a:endParaRPr>
          </a:p>
        </p:txBody>
      </p:sp>
    </p:spTree>
    <p:extLst>
      <p:ext uri="{BB962C8B-B14F-4D97-AF65-F5344CB8AC3E}">
        <p14:creationId xmlns:p14="http://schemas.microsoft.com/office/powerpoint/2010/main" val="42702629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51E72-D5A9-46CE-9658-CCEA6D3F26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9606CE-0236-58EC-70A7-CEB3D13FC30D}"/>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A6658D37-0708-EF51-0A6A-C94EF9930286}"/>
              </a:ext>
            </a:extLst>
          </p:cNvPr>
          <p:cNvSpPr>
            <a:spLocks noGrp="1"/>
          </p:cNvSpPr>
          <p:nvPr>
            <p:ph type="body" idx="1"/>
          </p:nvPr>
        </p:nvSpPr>
        <p:spPr/>
        <p:txBody>
          <a:bodyPr/>
          <a:lstStyle/>
          <a:p>
            <a:pPr marL="161766" fontAlgn="base"/>
            <a:r>
              <a:rPr lang="en-CH" sz="1100" dirty="0">
                <a:latin typeface="Calibri" panose="020F0502020204030204" pitchFamily="34" charset="0"/>
                <a:ea typeface="Calibri" panose="020F0502020204030204" pitchFamily="34" charset="0"/>
              </a:rPr>
              <a:t>Cet accord sert déjà de précurseur en s'attaquant aux obstacles liés à l'accessibilité financière, à l'enregistrement et aux intérêts commerciaux. Par exemple, l'année dernière, le programme de préqualification de l'OMS a publié une manifestation d'intérêt pour </a:t>
            </a:r>
            <a:r>
              <a:rPr lang="en-CH" sz="1100" dirty="0" err="1">
                <a:latin typeface="Calibri" panose="020F0502020204030204" pitchFamily="34" charset="0"/>
                <a:ea typeface="Calibri" panose="020F0502020204030204" pitchFamily="34" charset="0"/>
              </a:rPr>
              <a:t>le céfiderocol</a:t>
            </a:r>
            <a:r>
              <a:rPr lang="en-CH" sz="1100" dirty="0">
                <a:latin typeface="Calibri" panose="020F0502020204030204" pitchFamily="34" charset="0"/>
                <a:ea typeface="Calibri" panose="020F0502020204030204" pitchFamily="34" charset="0"/>
              </a:rPr>
              <a:t>. C'est la première fois que cet important programme lance un appel d'offres pour des antibiotiques destinés à traiter les infections résistantes aux médicaments, ouvrant ainsi la voie à l'examen par le programme de préqualification d'autres antibiotiques pour lutter contre la RAM. Le GARDP et </a:t>
            </a:r>
            <a:r>
              <a:rPr lang="en-US" sz="1100" dirty="0">
                <a:latin typeface="Calibri" panose="020F0502020204030204" pitchFamily="34" charset="0"/>
                <a:ea typeface="Calibri" panose="020F0502020204030204" pitchFamily="34" charset="0"/>
              </a:rPr>
              <a:t>le </a:t>
            </a:r>
            <a:r>
              <a:rPr lang="en-CH" sz="1100" dirty="0">
                <a:latin typeface="Calibri" panose="020F0502020204030204" pitchFamily="34" charset="0"/>
                <a:ea typeface="Calibri" panose="020F0502020204030204" pitchFamily="34" charset="0"/>
              </a:rPr>
              <a:t>Global Drug Facility ont également annoncé une collaboration visant à tester l'approvisionnement et le stockage groupés afin d'améliorer la fiabilité de l'approvisionnement en antibiotiques. Enfin, le GARDP a commencé à travailler avec </a:t>
            </a:r>
            <a:r>
              <a:rPr lang="en-CH" sz="1100" dirty="0" err="1">
                <a:latin typeface="Calibri" panose="020F0502020204030204" pitchFamily="34" charset="0"/>
                <a:ea typeface="Calibri" panose="020F0502020204030204" pitchFamily="34" charset="0"/>
              </a:rPr>
              <a:t>MedAccess </a:t>
            </a:r>
            <a:r>
              <a:rPr lang="en-CH" sz="1100" dirty="0">
                <a:latin typeface="Calibri" panose="020F0502020204030204" pitchFamily="34" charset="0"/>
                <a:ea typeface="Calibri" panose="020F0502020204030204" pitchFamily="34" charset="0"/>
              </a:rPr>
              <a:t>pour développer un modèle de garantie de revenus pour l'introduction du </a:t>
            </a:r>
            <a:r>
              <a:rPr lang="en-CH" sz="1100" dirty="0" err="1">
                <a:latin typeface="Calibri" panose="020F0502020204030204" pitchFamily="34" charset="0"/>
                <a:ea typeface="Calibri" panose="020F0502020204030204" pitchFamily="34" charset="0"/>
              </a:rPr>
              <a:t>céfiderocol </a:t>
            </a:r>
            <a:r>
              <a:rPr lang="en-CH" sz="1100" dirty="0">
                <a:latin typeface="Calibri" panose="020F0502020204030204" pitchFamily="34" charset="0"/>
                <a:ea typeface="Calibri" panose="020F0502020204030204" pitchFamily="34" charset="0"/>
              </a:rPr>
              <a:t>sur le territoire du GARDP. </a:t>
            </a:r>
            <a:endParaRPr lang="en-US" sz="11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89631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96B9B-058F-77CA-37AC-3ED7EB97B5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4134D3-111A-A0AF-A35F-143A5E66761D}"/>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40D2CD6D-9EBF-9694-9E63-47577330D9A8}"/>
              </a:ext>
            </a:extLst>
          </p:cNvPr>
          <p:cNvSpPr>
            <a:spLocks noGrp="1"/>
          </p:cNvSpPr>
          <p:nvPr>
            <p:ph type="body" idx="1"/>
          </p:nvPr>
        </p:nvSpPr>
        <p:spPr/>
        <p:txBody>
          <a:bodyPr/>
          <a:lstStyle/>
          <a:p>
            <a:pPr marL="161766" fontAlgn="base"/>
            <a:r>
              <a:rPr lang="en-CH" sz="1100" dirty="0">
                <a:latin typeface="Calibri" panose="020F0502020204030204" pitchFamily="34" charset="0"/>
                <a:ea typeface="Calibri" panose="020F0502020204030204" pitchFamily="34" charset="0"/>
              </a:rPr>
              <a:t>Il existe toute une série de défis qui empêchent un accès durable aux antibiotiques vitaux. Premièrement, les antibiotiques sont souvent commercialisés sans les preuves nécessaires à la prise de décision clinique concernant les profils de résistance ciblés ou sans preuves d'utilisation auprès de différentes populations, en particulier chez les enfants. Ensuite, il y a un manque d'intérêt pour la fourniture d'antibiotiques dans </a:t>
            </a:r>
            <a:r>
              <a:rPr lang="en-CH" sz="1100" dirty="0" err="1">
                <a:latin typeface="Calibri" panose="020F0502020204030204" pitchFamily="34" charset="0"/>
                <a:ea typeface="Calibri" panose="020F0502020204030204" pitchFamily="34" charset="0"/>
              </a:rPr>
              <a:t>les PRFI</a:t>
            </a:r>
            <a:r>
              <a:rPr lang="en-CH" sz="1100" dirty="0">
                <a:latin typeface="Calibri" panose="020F0502020204030204" pitchFamily="34" charset="0"/>
                <a:ea typeface="Calibri" panose="020F0502020204030204" pitchFamily="34" charset="0"/>
              </a:rPr>
              <a:t>, ce qui conduit à un enregistrement très limité. Cela peut être dû à divers facteurs, notamment une mauvaise connaissance du marché, une présence limitée des fabricants d'origine et des estimations de faibles rendements pour l'enregistrement dans </a:t>
            </a:r>
            <a:r>
              <a:rPr lang="en-CH" sz="1100" dirty="0" err="1">
                <a:latin typeface="Calibri" panose="020F0502020204030204" pitchFamily="34" charset="0"/>
                <a:ea typeface="Calibri" panose="020F0502020204030204" pitchFamily="34" charset="0"/>
              </a:rPr>
              <a:t>les PRFI. </a:t>
            </a:r>
            <a:r>
              <a:rPr lang="en-CH" sz="1100" dirty="0">
                <a:latin typeface="Calibri" panose="020F0502020204030204" pitchFamily="34" charset="0"/>
                <a:ea typeface="Calibri" panose="020F0502020204030204" pitchFamily="34" charset="0"/>
              </a:rPr>
              <a:t>Même lorsque les antibiotiques sont commercialisés, leur prix est souvent inaccessible, ce qui rend leur accès inéquitable. Enfin, les pays peuvent ne pas disposer de systèmes solides pour garantir une utilisation robuste et </a:t>
            </a:r>
            <a:r>
              <a:rPr lang="en-CH" sz="1100" dirty="0" err="1">
                <a:latin typeface="Calibri" panose="020F0502020204030204" pitchFamily="34" charset="0"/>
                <a:ea typeface="Calibri" panose="020F0502020204030204" pitchFamily="34" charset="0"/>
              </a:rPr>
              <a:t>appropriée </a:t>
            </a:r>
          </a:p>
          <a:p>
            <a:pPr marL="161766" fontAlgn="base"/>
            <a:r>
              <a:rPr lang="en-CH" sz="1100" dirty="0">
                <a:latin typeface="Calibri" panose="020F0502020204030204" pitchFamily="34" charset="0"/>
                <a:ea typeface="Calibri" panose="020F0502020204030204" pitchFamily="34" charset="0"/>
              </a:rPr>
              <a:t>Et ces obstacles ont un impact réel. Le graphique à barres ci-dessous compare les besoins estimés en matière de traitement des infections résistantes au carbapénème en Asie du Sud et le nombre de traitements achetés dans cette région en 2019. Bien que ces données présentent des faiblesses, nous constatons un écart de près de 97 % entre les besoins et l'accès potentiel. </a:t>
            </a:r>
            <a:endParaRPr lang="en-US" sz="11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2231618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020081-9AAB-45EA-AB3A-9C9B4E7DEEAF}" type="slidenum">
              <a:rPr lang="en-GB" smtClean="0"/>
              <a:t>20</a:t>
            </a:fld>
            <a:endParaRPr lang="en-GB"/>
          </a:p>
        </p:txBody>
      </p:sp>
    </p:spTree>
    <p:extLst>
      <p:ext uri="{BB962C8B-B14F-4D97-AF65-F5344CB8AC3E}">
        <p14:creationId xmlns:p14="http://schemas.microsoft.com/office/powerpoint/2010/main" val="1537049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020081-9AAB-45EA-AB3A-9C9B4E7DEEAF}" type="slidenum">
              <a:rPr lang="en-GB" smtClean="0"/>
              <a:t>3</a:t>
            </a:fld>
            <a:endParaRPr lang="en-GB"/>
          </a:p>
        </p:txBody>
      </p:sp>
    </p:spTree>
    <p:extLst>
      <p:ext uri="{BB962C8B-B14F-4D97-AF65-F5344CB8AC3E}">
        <p14:creationId xmlns:p14="http://schemas.microsoft.com/office/powerpoint/2010/main" val="3542488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latin typeface="Calibri" panose="020F0502020204030204" pitchFamily="34" charset="0"/>
                <a:ea typeface="Calibri" panose="020F0502020204030204" pitchFamily="34" charset="0"/>
                <a:cs typeface="Times New Roman" panose="02020603050405020304" pitchFamily="18" charset="0"/>
              </a:rPr>
              <a:t>L'approche traditionnelle en matière de développement des antibiotiques a échoué, en particulier dans les pays à revenu faible et intermédiaire. Les incitations « push » et « pull », même lorsqu'elles sont bien mises en œuvre, n'ont pas permis d'assurer un accès équitable. Les incitations « pull », dans la mesure où elles peuvent renforcer l'accès, se concentrent uniquement sur le renforcement de l'accès pour le pays (généralement à revenu élevé) qui fournit l'incitation. </a:t>
            </a:r>
            <a:endParaRPr lang="en-US" dirty="0"/>
          </a:p>
        </p:txBody>
      </p:sp>
      <p:sp>
        <p:nvSpPr>
          <p:cNvPr id="4" name="Slide Number Placeholder 3"/>
          <p:cNvSpPr>
            <a:spLocks noGrp="1"/>
          </p:cNvSpPr>
          <p:nvPr>
            <p:ph type="sldNum" sz="quarter" idx="5"/>
          </p:nvPr>
        </p:nvSpPr>
        <p:spPr/>
        <p:txBody>
          <a:bodyPr/>
          <a:lstStyle/>
          <a:p>
            <a:fld id="{FA020081-9AAB-45EA-AB3A-9C9B4E7DEEAF}" type="slidenum">
              <a:rPr lang="en-GB" smtClean="0"/>
              <a:t>4</a:t>
            </a:fld>
            <a:endParaRPr lang="en-GB"/>
          </a:p>
        </p:txBody>
      </p:sp>
    </p:spTree>
    <p:extLst>
      <p:ext uri="{BB962C8B-B14F-4D97-AF65-F5344CB8AC3E}">
        <p14:creationId xmlns:p14="http://schemas.microsoft.com/office/powerpoint/2010/main" val="1722831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H" sz="1800" dirty="0">
                <a:latin typeface="Calibri" panose="020F0502020204030204" pitchFamily="34" charset="0"/>
                <a:ea typeface="Calibri" panose="020F0502020204030204" pitchFamily="34" charset="0"/>
                <a:cs typeface="Times New Roman" panose="02020603050405020304" pitchFamily="18" charset="0"/>
              </a:rPr>
              <a:t>Nous devons développer une approche écosystémique plus robuste et durable </a:t>
            </a:r>
            <a:r>
              <a:rPr lang="en-US" sz="1800" dirty="0">
                <a:latin typeface="Calibri" panose="020F0502020204030204" pitchFamily="34" charset="0"/>
                <a:ea typeface="Calibri" panose="020F0502020204030204" pitchFamily="34" charset="0"/>
                <a:cs typeface="Times New Roman" panose="02020603050405020304" pitchFamily="18" charset="0"/>
              </a:rPr>
              <a:t>qui soutienne le développement de médicaments axés sur la santé publique et liés à un accès équitable et approprié </a:t>
            </a:r>
            <a:r>
              <a:rPr lang="en-CH" sz="1800" dirty="0">
                <a:latin typeface="Calibri" panose="020F0502020204030204" pitchFamily="34" charset="0"/>
                <a:ea typeface="Calibri" panose="020F0502020204030204" pitchFamily="34" charset="0"/>
                <a:cs typeface="Times New Roman" panose="02020603050405020304" pitchFamily="18" charset="0"/>
              </a:rPr>
              <a:t>. L'écosystème pour l'accès aux antibiotiques doit être guidé par les priorités de santé publique, rassembler et être dirigé par divers acteurs, tirer parti des partenariats public-privé et répondre à la force croissante des systèmes régionaux. Les éléments clés de cette approche comprennent 1) un modèle de développement de médicaments à but non lucratif, 2) l'optimisation régionale des antibiotiques et des systèmes locaux pour une adoption solide, 3) une efficacité et une transparence accrues du marché et 4) l'octroi de licences pour la fabrication et l'accès à de nouveaux antibiotiques.</a:t>
            </a:r>
            <a:endParaRPr lang="en-US" dirty="0"/>
          </a:p>
        </p:txBody>
      </p:sp>
      <p:sp>
        <p:nvSpPr>
          <p:cNvPr id="4" name="Slide Number Placeholder 3"/>
          <p:cNvSpPr>
            <a:spLocks noGrp="1"/>
          </p:cNvSpPr>
          <p:nvPr>
            <p:ph type="sldNum" sz="quarter" idx="5"/>
          </p:nvPr>
        </p:nvSpPr>
        <p:spPr/>
        <p:txBody>
          <a:bodyPr/>
          <a:lstStyle/>
          <a:p>
            <a:fld id="{FA020081-9AAB-45EA-AB3A-9C9B4E7DEEAF}" type="slidenum">
              <a:rPr lang="en-GB" smtClean="0"/>
              <a:t>5</a:t>
            </a:fld>
            <a:endParaRPr lang="en-GB"/>
          </a:p>
        </p:txBody>
      </p:sp>
    </p:spTree>
    <p:extLst>
      <p:ext uri="{BB962C8B-B14F-4D97-AF65-F5344CB8AC3E}">
        <p14:creationId xmlns:p14="http://schemas.microsoft.com/office/powerpoint/2010/main" val="33345655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CH" sz="1800" kern="100" dirty="0">
                <a:latin typeface="Calibri" panose="020F0502020204030204" pitchFamily="34" charset="0"/>
                <a:ea typeface="Calibri" panose="020F0502020204030204" pitchFamily="34" charset="0"/>
                <a:cs typeface="Times New Roman" panose="02020603050405020304" pitchFamily="18" charset="0"/>
              </a:rPr>
              <a:t>Tout d'abord, un </a:t>
            </a:r>
            <a:r>
              <a:rPr lang="en-US" sz="1800" kern="100" dirty="0">
                <a:latin typeface="Calibri" panose="020F0502020204030204" pitchFamily="34" charset="0"/>
                <a:ea typeface="Calibri" panose="020F0502020204030204" pitchFamily="34" charset="0"/>
                <a:cs typeface="Times New Roman" panose="02020603050405020304" pitchFamily="18" charset="0"/>
              </a:rPr>
              <a:t>modèle de développement de médicaments à but non lucratif permet de mieux </a:t>
            </a:r>
            <a:r>
              <a:rPr lang="en-CH" sz="1800" kern="100" dirty="0">
                <a:latin typeface="Calibri" panose="020F0502020204030204" pitchFamily="34" charset="0"/>
                <a:ea typeface="Calibri" panose="020F0502020204030204" pitchFamily="34" charset="0"/>
                <a:cs typeface="Times New Roman" panose="02020603050405020304" pitchFamily="18" charset="0"/>
              </a:rPr>
              <a:t>répondre aux besoins en matière de santé </a:t>
            </a:r>
            <a:r>
              <a:rPr lang="en-US" sz="1800" kern="100" dirty="0">
                <a:latin typeface="Calibri" panose="020F0502020204030204" pitchFamily="34" charset="0"/>
                <a:ea typeface="Calibri" panose="020F0502020204030204" pitchFamily="34" charset="0"/>
                <a:cs typeface="Times New Roman" panose="02020603050405020304" pitchFamily="18" charset="0"/>
              </a:rPr>
              <a:t>publique</a:t>
            </a:r>
            <a:r>
              <a:rPr lang="en-CH" sz="1800" kern="100" dirty="0">
                <a:latin typeface="Calibri" panose="020F0502020204030204" pitchFamily="34" charset="0"/>
                <a:ea typeface="Calibri" panose="020F0502020204030204" pitchFamily="34" charset="0"/>
                <a:cs typeface="Times New Roman" panose="02020603050405020304" pitchFamily="18" charset="0"/>
              </a:rPr>
              <a:t>, par exemple en donnant suite à la liste des agents pathogènes prioritaires établie par l'OMS. Un développement de médicaments à but non lucratif guidé par une mission de santé publique peut également </a:t>
            </a:r>
            <a:r>
              <a:rPr lang="en-US" sz="1800" kern="100" dirty="0">
                <a:latin typeface="Calibri" panose="020F0502020204030204" pitchFamily="34" charset="0"/>
                <a:ea typeface="Calibri" panose="020F0502020204030204" pitchFamily="34" charset="0"/>
                <a:cs typeface="Times New Roman" panose="02020603050405020304" pitchFamily="18" charset="0"/>
              </a:rPr>
              <a:t>cibler les populations négligées, répondre aux besoins en matière de santé publique, soutenir le développement des capacités d'essais cliniques dans les pays à revenu faible et intermédiaire, et fournir des preuves cliniques significatives pour soutenir une utilisation appropriée dans toutes les populations, notamment en répondant aux exigences postérieures à l'autorisation réglementaire. Par exemple, le Partenariat mondial pour la recherche et le développement sur les antibiotiques (GARDP) a donné la priorité à la collaboration avec des chercheurs des PRFI, ce qui peut contribuer à améliorer le développement des preuves, notamment pour les profils de résistance cibles qui sont plus courants dans les PRFI. Le GARDP donne également la priorité à l'accélération du développement pédiatrique dans le but de réduire l'écart entre l'autorisation des indications pour adultes et celles pour enfants. </a:t>
            </a:r>
          </a:p>
          <a:p>
            <a:endParaRPr lang="en-US" dirty="0"/>
          </a:p>
        </p:txBody>
      </p:sp>
      <p:sp>
        <p:nvSpPr>
          <p:cNvPr id="4" name="Slide Number Placeholder 3"/>
          <p:cNvSpPr>
            <a:spLocks noGrp="1"/>
          </p:cNvSpPr>
          <p:nvPr>
            <p:ph type="sldNum" sz="quarter" idx="5"/>
          </p:nvPr>
        </p:nvSpPr>
        <p:spPr/>
        <p:txBody>
          <a:bodyPr/>
          <a:lstStyle/>
          <a:p>
            <a:fld id="{FA020081-9AAB-45EA-AB3A-9C9B4E7DEEAF}" type="slidenum">
              <a:rPr lang="en-GB" smtClean="0"/>
              <a:t>6</a:t>
            </a:fld>
            <a:endParaRPr lang="en-GB"/>
          </a:p>
        </p:txBody>
      </p:sp>
    </p:spTree>
    <p:extLst>
      <p:ext uri="{BB962C8B-B14F-4D97-AF65-F5344CB8AC3E}">
        <p14:creationId xmlns:p14="http://schemas.microsoft.com/office/powerpoint/2010/main" val="27044839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200000"/>
              </a:lnSpc>
              <a:spcAft>
                <a:spcPts val="815"/>
              </a:spcAft>
            </a:pPr>
            <a:r>
              <a:rPr lang="en-CH" sz="1800" i="1" kern="100" dirty="0">
                <a:latin typeface="Calibri" panose="020F0502020204030204" pitchFamily="34" charset="0"/>
                <a:ea typeface="Calibri" panose="020F0502020204030204" pitchFamily="34" charset="0"/>
                <a:cs typeface="Times New Roman" panose="02020603050405020304" pitchFamily="18" charset="0"/>
              </a:rPr>
              <a:t>Je vais maintenant aborder </a:t>
            </a:r>
            <a:r>
              <a:rPr lang="en-CH" sz="1800" i="1" kern="100" dirty="0" err="1">
                <a:latin typeface="Calibri" panose="020F0502020204030204" pitchFamily="34" charset="0"/>
                <a:ea typeface="Calibri" panose="020F0502020204030204" pitchFamily="34" charset="0"/>
                <a:cs typeface="Times New Roman" panose="02020603050405020304" pitchFamily="18" charset="0"/>
              </a:rPr>
              <a:t>la question </a:t>
            </a:r>
            <a:r>
              <a:rPr lang="en-US" sz="1800" i="1" kern="100" dirty="0">
                <a:latin typeface="Calibri" panose="020F0502020204030204" pitchFamily="34" charset="0"/>
                <a:ea typeface="Calibri" panose="020F0502020204030204" pitchFamily="34" charset="0"/>
                <a:cs typeface="Times New Roman" panose="02020603050405020304" pitchFamily="18" charset="0"/>
              </a:rPr>
              <a:t>des licences et de la fabrication pour l'accès</a:t>
            </a:r>
            <a:endParaRPr lang="en-US" sz="1800" kern="100" dirty="0">
              <a:latin typeface="Calibri" panose="020F0502020204030204" pitchFamily="34" charset="0"/>
              <a:ea typeface="Calibri" panose="020F0502020204030204" pitchFamily="34" charset="0"/>
              <a:cs typeface="Times New Roman" panose="02020603050405020304" pitchFamily="18" charset="0"/>
            </a:endParaRPr>
          </a:p>
          <a:p>
            <a:pPr>
              <a:lnSpc>
                <a:spcPct val="200000"/>
              </a:lnSpc>
              <a:spcAft>
                <a:spcPts val="815"/>
              </a:spcAft>
            </a:pPr>
            <a:r>
              <a:rPr lang="en-US" sz="1800" kern="100" dirty="0">
                <a:latin typeface="Calibri" panose="020F0502020204030204" pitchFamily="34" charset="0"/>
                <a:ea typeface="Calibri" panose="020F0502020204030204" pitchFamily="34" charset="0"/>
                <a:cs typeface="Times New Roman" panose="02020603050405020304" pitchFamily="18" charset="0"/>
              </a:rPr>
              <a:t>L'octroi précoce de licences pour développer et fournir des versions génériques plus abordables d'antibiotiques ou de médicaments candidats sous brevet peut considérablement améliorer l'accès, élargir l'impact des produits et maintenir l'approvisionnement. Dans divers domaines thérapeutiques, y compris la RAM, l'octroi de licences de commercialisation et/ou de fabrication à d'autres partenaires industriels est associé à une plus grande disponibilité géographique. Les licences doivent être publiées et inclure des conditions axées sur l'accès, telles que des exigences en matière d'assurance qualité, d'enregistrement rapide et à grande échelle, et d'accessibilité financière (par exemple, des seuils de prix-volume et des prix plafonds basés sur le coût majoré). </a:t>
            </a:r>
          </a:p>
          <a:p>
            <a:pPr>
              <a:lnSpc>
                <a:spcPct val="200000"/>
              </a:lnSpc>
              <a:spcAft>
                <a:spcPts val="815"/>
              </a:spcAft>
            </a:pPr>
            <a:endParaRPr lang="en-CH" sz="1800" kern="100" dirty="0">
              <a:latin typeface="Calibri" panose="020F0502020204030204" pitchFamily="34" charset="0"/>
              <a:ea typeface="Calibri" panose="020F0502020204030204" pitchFamily="34" charset="0"/>
              <a:cs typeface="Times New Roman" panose="02020603050405020304" pitchFamily="18" charset="0"/>
            </a:endParaRPr>
          </a:p>
          <a:p>
            <a:pPr>
              <a:lnSpc>
                <a:spcPct val="200000"/>
              </a:lnSpc>
              <a:spcAft>
                <a:spcPts val="815"/>
              </a:spcAft>
            </a:pPr>
            <a:r>
              <a:rPr lang="en-US" sz="1800" kern="100" dirty="0">
                <a:latin typeface="Calibri" panose="020F0502020204030204" pitchFamily="34" charset="0"/>
                <a:ea typeface="Calibri" panose="020F0502020204030204" pitchFamily="34" charset="0"/>
                <a:cs typeface="Times New Roman" panose="02020603050405020304" pitchFamily="18" charset="0"/>
              </a:rPr>
              <a:t>L'octroi de licences de fabrication peut également contribuer à réduire les goulets d'étranglement dans l'approvisionnement et les obstacles liés à l'accessibilité financière en diversifiant et en augmentant la capacité de fabrication et en réduisant le coût des marchandises. Pour les nouveaux antibiotiques de réserve, l'octroi de licences pour un lancement simultané dans les pays à forte valeur ajoutée et à faible volume et dans les pays à marge plus faible et à demande plus appropriée peut contribuer à garantir la durabilité des antibiotiques candidats en cours de développement. Cela est particulièrement vrai pour les petites et moyennes entreprises qui courent un risque élevé de faillite ou de retrait des antibiotiques du marché, même une fois </a:t>
            </a:r>
            <a:r>
              <a:rPr lang="en-CH" sz="1800" kern="100" dirty="0">
                <a:latin typeface="Calibri" panose="020F0502020204030204" pitchFamily="34" charset="0"/>
                <a:ea typeface="Calibri" panose="020F0502020204030204" pitchFamily="34" charset="0"/>
                <a:cs typeface="Times New Roman" panose="02020603050405020304" pitchFamily="18" charset="0"/>
              </a:rPr>
              <a:t>le produit </a:t>
            </a:r>
            <a:r>
              <a:rPr lang="en-US" sz="1800" kern="100" dirty="0">
                <a:latin typeface="Calibri" panose="020F0502020204030204" pitchFamily="34" charset="0"/>
                <a:ea typeface="Calibri" panose="020F0502020204030204" pitchFamily="34" charset="0"/>
                <a:cs typeface="Times New Roman" panose="02020603050405020304" pitchFamily="18" charset="0"/>
              </a:rPr>
              <a:t>enregistré</a:t>
            </a:r>
            <a:r>
              <a:rPr lang="en-CH" sz="1800" kern="100" dirty="0">
                <a:latin typeface="Calibri" panose="020F0502020204030204" pitchFamily="34" charset="0"/>
                <a:ea typeface="Calibri" panose="020F0502020204030204" pitchFamily="34" charset="0"/>
                <a:cs typeface="Times New Roman" panose="02020603050405020304" pitchFamily="18" charset="0"/>
              </a:rPr>
              <a:t>,</a:t>
            </a:r>
            <a:r>
              <a:rPr lang="en-US" sz="1800" kern="100" dirty="0">
                <a:latin typeface="Calibri" panose="020F0502020204030204" pitchFamily="34" charset="0"/>
                <a:ea typeface="Calibri" panose="020F0502020204030204" pitchFamily="34" charset="0"/>
                <a:cs typeface="Times New Roman" panose="02020603050405020304" pitchFamily="18" charset="0"/>
              </a:rPr>
              <a:t> en raison de l'absence de retours financiers rapides.</a:t>
            </a:r>
            <a:endParaRPr lang="en-CH" sz="1800" kern="100" dirty="0">
              <a:latin typeface="Calibri" panose="020F0502020204030204" pitchFamily="34" charset="0"/>
              <a:ea typeface="Calibri" panose="020F0502020204030204" pitchFamily="34" charset="0"/>
              <a:cs typeface="Times New Roman" panose="02020603050405020304" pitchFamily="18" charset="0"/>
            </a:endParaRPr>
          </a:p>
          <a:p>
            <a:pPr>
              <a:lnSpc>
                <a:spcPct val="200000"/>
              </a:lnSpc>
              <a:spcAft>
                <a:spcPts val="815"/>
              </a:spcAft>
            </a:pPr>
            <a:endParaRPr lang="en-US" sz="1800" kern="100" dirty="0">
              <a:latin typeface="Calibri" panose="020F0502020204030204" pitchFamily="34" charset="0"/>
              <a:ea typeface="Calibri" panose="020F0502020204030204" pitchFamily="34" charset="0"/>
              <a:cs typeface="Times New Roman" panose="02020603050405020304" pitchFamily="18" charset="0"/>
            </a:endParaRPr>
          </a:p>
          <a:p>
            <a:pPr>
              <a:lnSpc>
                <a:spcPct val="200000"/>
              </a:lnSpc>
              <a:spcAft>
                <a:spcPts val="815"/>
              </a:spcAft>
            </a:pPr>
            <a:r>
              <a:rPr lang="en-US" sz="1800" kern="100" dirty="0">
                <a:latin typeface="Calibri" panose="020F0502020204030204" pitchFamily="34" charset="0"/>
                <a:ea typeface="Calibri" panose="020F0502020204030204" pitchFamily="34" charset="0"/>
                <a:cs typeface="Times New Roman" panose="02020603050405020304" pitchFamily="18" charset="0"/>
              </a:rPr>
              <a:t>L'octroi de licences devrait se faire par l'intermédiaire d'une entité publique ou à but non lucratif ayant une mission de santé publique. Ces entités peuvent coordonner avec succès l'offre et la demande sur le marché afin d'améliorer l'accès aux produits et leur viabilité. Certaines organisations à but non lucratif peuvent également fournir leur expertise pour développer de nouvelles preuves d'utilisation appropriée ou un soutien CMC afin d'améliorer l'efficacité de la production. Les organisations à but non lucratif peuvent également soutenir l'octroi de sous-licences préférentielles aux fabricants qui peuvent offrir un accès large et abordable et répondre à d'autres critères de santé publique, tels que la réduction ou l'élimination des rejets de substances actives pharmaceutiques dans l'environnement et le respect de pratiques commerciales éthiques. Un tel système peut créer un cercle vertueux dans lequel les fabricants sont incités à répondre à ces critères afin d'être éligibles à l'obtention de sous-licences. </a:t>
            </a:r>
          </a:p>
          <a:p>
            <a:endParaRPr lang="en-US" dirty="0"/>
          </a:p>
        </p:txBody>
      </p:sp>
      <p:sp>
        <p:nvSpPr>
          <p:cNvPr id="4" name="Slide Number Placeholder 3"/>
          <p:cNvSpPr>
            <a:spLocks noGrp="1"/>
          </p:cNvSpPr>
          <p:nvPr>
            <p:ph type="sldNum" sz="quarter" idx="5"/>
          </p:nvPr>
        </p:nvSpPr>
        <p:spPr/>
        <p:txBody>
          <a:bodyPr/>
          <a:lstStyle/>
          <a:p>
            <a:pPr defTabSz="931774">
              <a:defRPr/>
            </a:pPr>
            <a:fld id="{FA020081-9AAB-45EA-AB3A-9C9B4E7DEEAF}" type="slidenum">
              <a:rPr lang="en-GB">
                <a:solidFill>
                  <a:prstClr val="black"/>
                </a:solidFill>
                <a:latin typeface="Calibri" panose="020F0502020204030204"/>
              </a:rPr>
              <a:pPr defTabSz="931774">
                <a:defRPr/>
              </a:pPr>
              <a:t>7</a:t>
            </a:fld>
            <a:endParaRPr lang="en-GB">
              <a:solidFill>
                <a:prstClr val="black"/>
              </a:solidFill>
              <a:latin typeface="Calibri" panose="020F0502020204030204"/>
            </a:endParaRPr>
          </a:p>
        </p:txBody>
      </p:sp>
    </p:spTree>
    <p:extLst>
      <p:ext uri="{BB962C8B-B14F-4D97-AF65-F5344CB8AC3E}">
        <p14:creationId xmlns:p14="http://schemas.microsoft.com/office/powerpoint/2010/main" val="31826617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sz="1800" kern="100" dirty="0">
                <a:latin typeface="Calibri" panose="020F0502020204030204" pitchFamily="34" charset="0"/>
                <a:ea typeface="Calibri" panose="020F0502020204030204" pitchFamily="34" charset="0"/>
                <a:cs typeface="Times New Roman" panose="02020603050405020304" pitchFamily="18" charset="0"/>
              </a:rPr>
              <a:t>Les achats groupés peuvent contribuer à accroître l'efficacité de la production, à réduire les prix et à renforcer la sécurité de l'approvisionnement, en particulier pour les antibiotiques dont la demande est faible ou fragmentée, tels que les antibiotiques de réserve ou les formulations pédiatriques. Les initiatives mondiales d'approvisionnement groupé telles que le Global Drug Facility ont démontré le potentiel de cette intervention dans un cas particulier de RAM : la tuberculose pharmacorésistante. Une approche globale de l'approvisionnement, comprenant des relations solides avec les fournisseurs, l'élaboration d'accords d'approvisionnement à long terme, la mise en place de prévisions et d'informations sur le marché, ainsi que la mise en commun des achats, a permis de réduire durablement les prix et d'améliorer la prévisibilité de l'approvisionnement. Les initiatives régionales d'approvisionnement telles que le Fonds stratégique de l'Organisation panaméricaine de la santé, la Plateforme africaine pour les fournitures médicales et les initiatives plus récentes menées par les </a:t>
            </a:r>
            <a:r>
              <a:rPr lang="en-US" sz="1800" kern="100" dirty="0" err="1">
                <a:latin typeface="Calibri" panose="020F0502020204030204" pitchFamily="34" charset="0"/>
                <a:ea typeface="Calibri" panose="020F0502020204030204" pitchFamily="34" charset="0"/>
                <a:cs typeface="Times New Roman" panose="02020603050405020304" pitchFamily="18" charset="0"/>
              </a:rPr>
              <a:t>Centres</a:t>
            </a:r>
            <a:r>
              <a:rPr lang="en-US" sz="1800" kern="100" dirty="0">
                <a:latin typeface="Calibri" panose="020F0502020204030204" pitchFamily="34" charset="0"/>
                <a:ea typeface="Calibri" panose="020F0502020204030204" pitchFamily="34" charset="0"/>
                <a:cs typeface="Times New Roman" panose="02020603050405020304" pitchFamily="18" charset="0"/>
              </a:rPr>
              <a:t> africains pour le contrôle et la prévention des maladies et l'initiative collaborative SECURE de l'OMS-GARDP peuvent identifier et inclure les antibiotiques pour lesquels un approvisionnement groupé améliorera l'accès.</a:t>
            </a:r>
            <a:endParaRPr lang="en-US" dirty="0"/>
          </a:p>
        </p:txBody>
      </p:sp>
      <p:sp>
        <p:nvSpPr>
          <p:cNvPr id="4" name="Slide Number Placeholder 3"/>
          <p:cNvSpPr>
            <a:spLocks noGrp="1"/>
          </p:cNvSpPr>
          <p:nvPr>
            <p:ph type="sldNum" sz="quarter" idx="5"/>
          </p:nvPr>
        </p:nvSpPr>
        <p:spPr/>
        <p:txBody>
          <a:bodyPr/>
          <a:lstStyle/>
          <a:p>
            <a:fld id="{FA020081-9AAB-45EA-AB3A-9C9B4E7DEEAF}" type="slidenum">
              <a:rPr lang="en-GB" smtClean="0"/>
              <a:t>8</a:t>
            </a:fld>
            <a:endParaRPr lang="en-GB"/>
          </a:p>
        </p:txBody>
      </p:sp>
    </p:spTree>
    <p:extLst>
      <p:ext uri="{BB962C8B-B14F-4D97-AF65-F5344CB8AC3E}">
        <p14:creationId xmlns:p14="http://schemas.microsoft.com/office/powerpoint/2010/main" val="88598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200000"/>
              </a:lnSpc>
              <a:spcAft>
                <a:spcPts val="815"/>
              </a:spcAft>
            </a:pPr>
            <a:r>
              <a:rPr lang="en-US" sz="1800" kern="100" dirty="0">
                <a:latin typeface="Calibri" panose="020F0502020204030204" pitchFamily="34" charset="0"/>
                <a:ea typeface="Calibri" panose="020F0502020204030204" pitchFamily="34" charset="0"/>
                <a:cs typeface="Times New Roman" panose="02020603050405020304" pitchFamily="18" charset="0"/>
              </a:rPr>
              <a:t>Des accords de financement innovants peuvent également accélérer l'entrée sur le marché dans les PRFI et soutenir un approvisionnement durable et abordable en réduisant l'incertitude pour les fournisseurs et en transférant une partie du risque de marché à des financiers ou des acheteurs tiers. </a:t>
            </a:r>
          </a:p>
          <a:p>
            <a:pPr>
              <a:lnSpc>
                <a:spcPct val="200000"/>
              </a:lnSpc>
              <a:spcAft>
                <a:spcPts val="815"/>
              </a:spcAft>
            </a:pPr>
            <a:r>
              <a:rPr lang="en-US" sz="1800" kern="100" dirty="0">
                <a:latin typeface="Calibri" panose="020F0502020204030204" pitchFamily="34" charset="0"/>
                <a:ea typeface="Calibri" panose="020F0502020204030204" pitchFamily="34" charset="0"/>
                <a:cs typeface="Times New Roman" panose="02020603050405020304" pitchFamily="18" charset="0"/>
              </a:rPr>
              <a:t>Au cours de la dernière décennie, des outils de financement tels que les garanties de revenus ou de volume ont été largement utilisés pour soutenir l'accès aux produits de santé. Dans le cadre de ces accords, un financier ou un acheteur garantit qu'un fournisseur atteindra un certain volume ou une certaine valeur de ventes sur les marchés cibles pendant une période donnée, en échange de certains engagements liés à la disponibilité et à l'accessibilité financière des produits. Si les volumes de commandes ou les ventes sont inférieurs aux montants garantis, le garant indemnise le fournisseur en conséquence. </a:t>
            </a:r>
            <a:endParaRPr lang="en-CH" sz="1800" kern="100" dirty="0">
              <a:latin typeface="Calibri" panose="020F0502020204030204" pitchFamily="34" charset="0"/>
              <a:ea typeface="Calibri" panose="020F0502020204030204" pitchFamily="34" charset="0"/>
              <a:cs typeface="Times New Roman" panose="02020603050405020304" pitchFamily="18" charset="0"/>
            </a:endParaRPr>
          </a:p>
          <a:p>
            <a:pPr>
              <a:lnSpc>
                <a:spcPct val="200000"/>
              </a:lnSpc>
              <a:spcAft>
                <a:spcPts val="815"/>
              </a:spcAft>
            </a:pPr>
            <a:endParaRPr lang="en-US" sz="1800" kern="100" dirty="0">
              <a:latin typeface="Calibri" panose="020F0502020204030204" pitchFamily="34" charset="0"/>
              <a:ea typeface="Calibri" panose="020F0502020204030204" pitchFamily="34" charset="0"/>
              <a:cs typeface="Times New Roman" panose="02020603050405020304" pitchFamily="18" charset="0"/>
            </a:endParaRPr>
          </a:p>
          <a:p>
            <a:pPr>
              <a:lnSpc>
                <a:spcPct val="200000"/>
              </a:lnSpc>
              <a:spcAft>
                <a:spcPts val="815"/>
              </a:spcAft>
            </a:pPr>
            <a:r>
              <a:rPr lang="en-US" sz="1800" kern="100" dirty="0">
                <a:latin typeface="Calibri" panose="020F0502020204030204" pitchFamily="34" charset="0"/>
                <a:ea typeface="Calibri" panose="020F0502020204030204" pitchFamily="34" charset="0"/>
                <a:cs typeface="Times New Roman" panose="02020603050405020304" pitchFamily="18" charset="0"/>
              </a:rPr>
              <a:t>Par exemple, même pour un marché à faible valeur comme la Suède, une garantie de revenus a contribué à assurer l'enregistrement et la disponibilité de produits prioritaires pour traiter les infections bactériennes résistantes aux médicaments. Une garantie de revenus dissocie également les revenus du volume des ventes, réduisant ainsi l'incitation à promouvoir une utilisation inappropriée des antibiotiques. Les garanties de volume ont été utilisées avec succès dans d'autres domaines tels que la tuberculose, le paludisme, le planning familial et le VIH pour accélérer l'introduction de produits, augmenter la capacité de production et réduire les prix.</a:t>
            </a:r>
            <a:endParaRPr lang="en-CH" sz="1800" kern="100" dirty="0">
              <a:latin typeface="Calibri" panose="020F0502020204030204" pitchFamily="34" charset="0"/>
              <a:ea typeface="Calibri" panose="020F0502020204030204" pitchFamily="34" charset="0"/>
              <a:cs typeface="Times New Roman" panose="02020603050405020304" pitchFamily="18" charset="0"/>
            </a:endParaRPr>
          </a:p>
          <a:p>
            <a:pPr>
              <a:lnSpc>
                <a:spcPct val="200000"/>
              </a:lnSpc>
              <a:spcAft>
                <a:spcPts val="815"/>
              </a:spcAft>
            </a:pPr>
            <a:endParaRPr lang="en-US" sz="1800" kern="100" dirty="0">
              <a:latin typeface="Calibri" panose="020F0502020204030204" pitchFamily="34" charset="0"/>
              <a:ea typeface="Calibri" panose="020F0502020204030204" pitchFamily="34" charset="0"/>
              <a:cs typeface="Times New Roman" panose="02020603050405020304" pitchFamily="18" charset="0"/>
            </a:endParaRPr>
          </a:p>
          <a:p>
            <a:pPr>
              <a:lnSpc>
                <a:spcPct val="200000"/>
              </a:lnSpc>
              <a:spcAft>
                <a:spcPts val="815"/>
              </a:spcAft>
            </a:pPr>
            <a:r>
              <a:rPr lang="en-US" sz="1800" kern="100" dirty="0">
                <a:latin typeface="Calibri" panose="020F0502020204030204" pitchFamily="34" charset="0"/>
                <a:ea typeface="Calibri" panose="020F0502020204030204" pitchFamily="34" charset="0"/>
                <a:cs typeface="Times New Roman" panose="02020603050405020304" pitchFamily="18" charset="0"/>
              </a:rPr>
              <a:t>Tout accord de financement innovant devrait être lié à des dispositions en matière d'accès, telles que l'enregistrement en temps opportun dans les pays fortement touchés, la participation aux appels d'offres pertinents, des délais de livraison raisonnables, l'accessibilité financière, des activités de gestion (telles que la suppression des incitations à la force de vente basées sur le volume des ventes) et l'assurance qualité. </a:t>
            </a:r>
          </a:p>
          <a:p>
            <a:endParaRPr lang="en-US" dirty="0"/>
          </a:p>
        </p:txBody>
      </p:sp>
      <p:sp>
        <p:nvSpPr>
          <p:cNvPr id="4" name="Slide Number Placeholder 3"/>
          <p:cNvSpPr>
            <a:spLocks noGrp="1"/>
          </p:cNvSpPr>
          <p:nvPr>
            <p:ph type="sldNum" sz="quarter" idx="5"/>
          </p:nvPr>
        </p:nvSpPr>
        <p:spPr/>
        <p:txBody>
          <a:bodyPr/>
          <a:lstStyle/>
          <a:p>
            <a:fld id="{FA020081-9AAB-45EA-AB3A-9C9B4E7DEEAF}" type="slidenum">
              <a:rPr lang="en-GB" smtClean="0"/>
              <a:t>9</a:t>
            </a:fld>
            <a:endParaRPr lang="en-GB"/>
          </a:p>
        </p:txBody>
      </p:sp>
    </p:spTree>
    <p:extLst>
      <p:ext uri="{BB962C8B-B14F-4D97-AF65-F5344CB8AC3E}">
        <p14:creationId xmlns:p14="http://schemas.microsoft.com/office/powerpoint/2010/main" val="34673026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6.xml"/><Relationship Id="rId4" Type="http://schemas.openxmlformats.org/officeDocument/2006/relationships/image" Target="../media/image58.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6.xml"/><Relationship Id="rId4" Type="http://schemas.openxmlformats.org/officeDocument/2006/relationships/image" Target="../media/image61.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2.png"/><Relationship Id="rId1" Type="http://schemas.openxmlformats.org/officeDocument/2006/relationships/slideMaster" Target="../slideMasters/slideMaster6.xml"/><Relationship Id="rId4" Type="http://schemas.openxmlformats.org/officeDocument/2006/relationships/image" Target="../media/image61.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3.jpeg"/><Relationship Id="rId1" Type="http://schemas.openxmlformats.org/officeDocument/2006/relationships/slideMaster" Target="../slideMasters/slideMaster6.xml"/><Relationship Id="rId4" Type="http://schemas.openxmlformats.org/officeDocument/2006/relationships/image" Target="../media/image1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4.png"/><Relationship Id="rId1" Type="http://schemas.openxmlformats.org/officeDocument/2006/relationships/slideMaster" Target="../slideMasters/slideMaster6.xml"/><Relationship Id="rId4" Type="http://schemas.openxmlformats.org/officeDocument/2006/relationships/image" Target="../media/image1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8.png"/><Relationship Id="rId1" Type="http://schemas.openxmlformats.org/officeDocument/2006/relationships/slideMaster" Target="../slideMasters/slideMaster6.xml"/><Relationship Id="rId4" Type="http://schemas.openxmlformats.org/officeDocument/2006/relationships/image" Target="../media/image67.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9.png"/><Relationship Id="rId1" Type="http://schemas.openxmlformats.org/officeDocument/2006/relationships/slideMaster" Target="../slideMasters/slideMaster6.xml"/><Relationship Id="rId4" Type="http://schemas.openxmlformats.org/officeDocument/2006/relationships/image" Target="../media/image67.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0.png"/><Relationship Id="rId1" Type="http://schemas.openxmlformats.org/officeDocument/2006/relationships/slideMaster" Target="../slideMasters/slideMaster6.xml"/><Relationship Id="rId4" Type="http://schemas.openxmlformats.org/officeDocument/2006/relationships/image" Target="../media/image67.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1.png"/><Relationship Id="rId1" Type="http://schemas.openxmlformats.org/officeDocument/2006/relationships/slideMaster" Target="../slideMasters/slideMaster6.xml"/><Relationship Id="rId4" Type="http://schemas.openxmlformats.org/officeDocument/2006/relationships/image" Target="../media/image67.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6.xml"/><Relationship Id="rId5" Type="http://schemas.openxmlformats.org/officeDocument/2006/relationships/image" Target="../media/image75.png"/><Relationship Id="rId4" Type="http://schemas.openxmlformats.org/officeDocument/2006/relationships/image" Target="../media/image74.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Master" Target="../slideMasters/slideMaster2.xml"/><Relationship Id="rId5" Type="http://schemas.openxmlformats.org/officeDocument/2006/relationships/image" Target="../media/image39.png"/><Relationship Id="rId4" Type="http://schemas.openxmlformats.org/officeDocument/2006/relationships/image" Target="../media/image38.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Master" Target="../slideMasters/slideMaster2.xml"/><Relationship Id="rId5" Type="http://schemas.openxmlformats.org/officeDocument/2006/relationships/image" Target="../media/image39.png"/><Relationship Id="rId4" Type="http://schemas.openxmlformats.org/officeDocument/2006/relationships/image" Target="../media/image38.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4.jpe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png"/><Relationship Id="rId1" Type="http://schemas.openxmlformats.org/officeDocument/2006/relationships/slideMaster" Target="../slideMasters/slideMaster4.xml"/><Relationship Id="rId5" Type="http://schemas.openxmlformats.org/officeDocument/2006/relationships/image" Target="../media/image53.png"/><Relationship Id="rId4" Type="http://schemas.openxmlformats.org/officeDocument/2006/relationships/image" Target="../media/image52.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6" name="Straight Connector 5">
            <a:extLst>
              <a:ext uri="{FF2B5EF4-FFF2-40B4-BE49-F238E27FC236}">
                <a16:creationId xmlns:a16="http://schemas.microsoft.com/office/drawing/2014/main" id="{7949C012-A516-F7A4-42F6-133353606AD2}"/>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94604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Diapositive de titre" preserve="1" userDrawn="1">
  <p:cSld name="1_Diapositive de titre">
    <p:spTree>
      <p:nvGrpSpPr>
        <p:cNvPr id="1" name="Shape 35"/>
        <p:cNvGrpSpPr/>
        <p:nvPr/>
      </p:nvGrpSpPr>
      <p:grpSpPr>
        <a:xfrm>
          <a:off x="0" y="0"/>
          <a:ext cx="0" cy="0"/>
          <a:chOff x="0" y="0"/>
          <a:chExt cx="0" cy="0"/>
        </a:xfrm>
      </p:grpSpPr>
    </p:spTree>
    <p:extLst>
      <p:ext uri="{BB962C8B-B14F-4D97-AF65-F5344CB8AC3E}">
        <p14:creationId xmlns:p14="http://schemas.microsoft.com/office/powerpoint/2010/main" val="6708048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Diapositive de titre" type="title">
  <p:cSld name="1_Diapositive de titre">
    <p:bg>
      <p:bgPr>
        <a:solidFill>
          <a:srgbClr val="0D1F2F"/>
        </a:solidFill>
        <a:effectLst/>
      </p:bgPr>
    </p:bg>
    <p:spTree>
      <p:nvGrpSpPr>
        <p:cNvPr id="1" name="Shape 51"/>
        <p:cNvGrpSpPr/>
        <p:nvPr/>
      </p:nvGrpSpPr>
      <p:grpSpPr>
        <a:xfrm>
          <a:off x="0" y="0"/>
          <a:ext cx="0" cy="0"/>
          <a:chOff x="0" y="0"/>
          <a:chExt cx="0" cy="0"/>
        </a:xfrm>
      </p:grpSpPr>
      <p:sp>
        <p:nvSpPr>
          <p:cNvPr id="52" name="Google Shape;52;p14"/>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14"/>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54" name="Google Shape;54;p14"/>
          <p:cNvPicPr preferRelativeResize="0"/>
          <p:nvPr/>
        </p:nvPicPr>
        <p:blipFill rotWithShape="1">
          <a:blip r:embed="rId2" cstate="email">
            <a:alphaModFix amt="80000"/>
            <a:extLst>
              <a:ext uri="{28A0092B-C50C-407E-A947-70E740481C1C}">
                <a14:useLocalDpi xmlns:a14="http://schemas.microsoft.com/office/drawing/2010/main"/>
              </a:ext>
            </a:extLst>
          </a:blip>
          <a:srcRect/>
          <a:stretch/>
        </p:blipFill>
        <p:spPr>
          <a:xfrm rot="5092934">
            <a:off x="9076530" y="-943636"/>
            <a:ext cx="3182937" cy="3182937"/>
          </a:xfrm>
          <a:prstGeom prst="rect">
            <a:avLst/>
          </a:prstGeom>
          <a:noFill/>
          <a:ln>
            <a:noFill/>
          </a:ln>
        </p:spPr>
      </p:pic>
      <p:pic>
        <p:nvPicPr>
          <p:cNvPr id="2" name="Picture 1" descr="Logo&#10;&#10;Description automatically generated">
            <a:extLst>
              <a:ext uri="{FF2B5EF4-FFF2-40B4-BE49-F238E27FC236}">
                <a16:creationId xmlns:a16="http://schemas.microsoft.com/office/drawing/2014/main" id="{A7F12C5B-DD59-B19D-D4D5-DBC258D99A4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149" y="5849440"/>
            <a:ext cx="1080000" cy="1080000"/>
          </a:xfrm>
          <a:prstGeom prst="rect">
            <a:avLst/>
          </a:prstGeom>
        </p:spPr>
      </p:pic>
    </p:spTree>
    <p:extLst>
      <p:ext uri="{BB962C8B-B14F-4D97-AF65-F5344CB8AC3E}">
        <p14:creationId xmlns:p14="http://schemas.microsoft.com/office/powerpoint/2010/main" val="20486158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1_Disposition personnalisée">
  <p:cSld name="1_Disposition personnalisée">
    <p:spTree>
      <p:nvGrpSpPr>
        <p:cNvPr id="1" name="Shape 56"/>
        <p:cNvGrpSpPr/>
        <p:nvPr/>
      </p:nvGrpSpPr>
      <p:grpSpPr>
        <a:xfrm>
          <a:off x="0" y="0"/>
          <a:ext cx="0" cy="0"/>
          <a:chOff x="0" y="0"/>
          <a:chExt cx="0" cy="0"/>
        </a:xfrm>
      </p:grpSpPr>
      <p:sp>
        <p:nvSpPr>
          <p:cNvPr id="57" name="Google Shape;57;p15"/>
          <p:cNvSpPr txBox="1">
            <a:spLocks noGrp="1"/>
          </p:cNvSpPr>
          <p:nvPr>
            <p:ph type="title"/>
          </p:nvPr>
        </p:nvSpPr>
        <p:spPr>
          <a:xfrm>
            <a:off x="495299" y="536577"/>
            <a:ext cx="5616743"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D202F"/>
              </a:buClr>
              <a:buSzPts val="3500"/>
              <a:buFont typeface="Arial"/>
              <a:buNone/>
              <a:defRPr sz="35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15"/>
          <p:cNvSpPr txBox="1">
            <a:spLocks noGrp="1"/>
          </p:cNvSpPr>
          <p:nvPr>
            <p:ph type="body" idx="1"/>
          </p:nvPr>
        </p:nvSpPr>
        <p:spPr>
          <a:xfrm>
            <a:off x="3048000" y="2038601"/>
            <a:ext cx="8653461" cy="4186237"/>
          </a:xfrm>
          <a:prstGeom prst="rect">
            <a:avLst/>
          </a:prstGeom>
          <a:noFill/>
          <a:ln>
            <a:noFill/>
          </a:ln>
        </p:spPr>
        <p:txBody>
          <a:bodyPr spcFirstLastPara="1" wrap="square" lIns="91425" tIns="45700" rIns="91425" bIns="45700" anchor="t" anchorCtr="0">
            <a:normAutofit/>
          </a:bodyPr>
          <a:lstStyle>
            <a:lvl1pPr marL="457200" lvl="0" indent="-381000" algn="l">
              <a:lnSpc>
                <a:spcPct val="90000"/>
              </a:lnSpc>
              <a:spcBef>
                <a:spcPts val="1000"/>
              </a:spcBef>
              <a:spcAft>
                <a:spcPts val="0"/>
              </a:spcAft>
              <a:buClr>
                <a:srgbClr val="18A1AB"/>
              </a:buClr>
              <a:buSzPts val="2400"/>
              <a:buFont typeface="Arial"/>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9" name="Google Shape;59;p15"/>
          <p:cNvPicPr preferRelativeResize="0"/>
          <p:nvPr/>
        </p:nvPicPr>
        <p:blipFill rotWithShape="1">
          <a:blip r:embed="rId2" cstate="email">
            <a:extLst>
              <a:ext uri="{28A0092B-C50C-407E-A947-70E740481C1C}">
                <a14:useLocalDpi xmlns:a14="http://schemas.microsoft.com/office/drawing/2010/main"/>
              </a:ext>
            </a:extLst>
          </a:blip>
          <a:srcRect/>
          <a:stretch/>
        </p:blipFill>
        <p:spPr>
          <a:xfrm>
            <a:off x="0" y="5427465"/>
            <a:ext cx="2423299" cy="1430535"/>
          </a:xfrm>
          <a:prstGeom prst="rect">
            <a:avLst/>
          </a:prstGeom>
          <a:noFill/>
          <a:ln>
            <a:noFill/>
          </a:ln>
        </p:spPr>
      </p:pic>
      <p:pic>
        <p:nvPicPr>
          <p:cNvPr id="60" name="Google Shape;60;p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5943601"/>
            <a:ext cx="850777" cy="914400"/>
          </a:xfrm>
          <a:prstGeom prst="rect">
            <a:avLst/>
          </a:prstGeom>
          <a:noFill/>
          <a:ln>
            <a:noFill/>
          </a:ln>
        </p:spPr>
      </p:pic>
    </p:spTree>
    <p:extLst>
      <p:ext uri="{BB962C8B-B14F-4D97-AF65-F5344CB8AC3E}">
        <p14:creationId xmlns:p14="http://schemas.microsoft.com/office/powerpoint/2010/main" val="165958898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pic>
        <p:nvPicPr>
          <p:cNvPr id="2" name="Google Shape;59;p15">
            <a:extLst>
              <a:ext uri="{FF2B5EF4-FFF2-40B4-BE49-F238E27FC236}">
                <a16:creationId xmlns:a16="http://schemas.microsoft.com/office/drawing/2014/main" id="{5539942E-CAAB-B1F1-1452-CCD03219E0BB}"/>
              </a:ext>
            </a:extLst>
          </p:cNvPr>
          <p:cNvPicPr preferRelativeResize="0"/>
          <p:nvPr userDrawn="1"/>
        </p:nvPicPr>
        <p:blipFill rotWithShape="1">
          <a:blip r:embed="rId2" cstate="email">
            <a:extLst>
              <a:ext uri="{28A0092B-C50C-407E-A947-70E740481C1C}">
                <a14:useLocalDpi xmlns:a14="http://schemas.microsoft.com/office/drawing/2010/main"/>
              </a:ext>
            </a:extLst>
          </a:blip>
          <a:srcRect/>
          <a:stretch/>
        </p:blipFill>
        <p:spPr>
          <a:xfrm>
            <a:off x="0" y="5427465"/>
            <a:ext cx="2423299" cy="1430535"/>
          </a:xfrm>
          <a:prstGeom prst="rect">
            <a:avLst/>
          </a:prstGeom>
          <a:noFill/>
          <a:ln>
            <a:noFill/>
          </a:ln>
        </p:spPr>
      </p:pic>
      <p:pic>
        <p:nvPicPr>
          <p:cNvPr id="3" name="Google Shape;60;p15">
            <a:extLst>
              <a:ext uri="{FF2B5EF4-FFF2-40B4-BE49-F238E27FC236}">
                <a16:creationId xmlns:a16="http://schemas.microsoft.com/office/drawing/2014/main" id="{3E56640E-D3B8-89E5-0C1D-09D8DCB90FBA}"/>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a:off x="-285750" y="5943600"/>
            <a:ext cx="1136527" cy="1144587"/>
          </a:xfrm>
          <a:prstGeom prst="rect">
            <a:avLst/>
          </a:prstGeom>
          <a:noFill/>
          <a:ln>
            <a:noFill/>
          </a:ln>
        </p:spPr>
      </p:pic>
      <p:sp>
        <p:nvSpPr>
          <p:cNvPr id="13" name="Title 1">
            <a:extLst>
              <a:ext uri="{FF2B5EF4-FFF2-40B4-BE49-F238E27FC236}">
                <a16:creationId xmlns:a16="http://schemas.microsoft.com/office/drawing/2014/main" id="{CD887305-1AAB-0C3D-E6AB-EF04D0A9DE4F}"/>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sz="3500" b="1"/>
            </a:lvl1pPr>
          </a:lstStyle>
          <a:p>
            <a:r>
              <a:rPr lang="en-US"/>
              <a:t>Click to edit </a:t>
            </a:r>
            <a:br>
              <a:rPr lang="en-US"/>
            </a:br>
            <a:r>
              <a:rPr lang="en-US"/>
              <a:t>Master title style</a:t>
            </a:r>
          </a:p>
        </p:txBody>
      </p:sp>
      <p:cxnSp>
        <p:nvCxnSpPr>
          <p:cNvPr id="14" name="Straight Connector 13">
            <a:extLst>
              <a:ext uri="{FF2B5EF4-FFF2-40B4-BE49-F238E27FC236}">
                <a16:creationId xmlns:a16="http://schemas.microsoft.com/office/drawing/2014/main" id="{8E0820AD-34CD-B158-332D-EDD7AD089EB1}"/>
              </a:ext>
            </a:extLst>
          </p:cNvPr>
          <p:cNvCxnSpPr/>
          <p:nvPr userDrawn="1"/>
        </p:nvCxnSpPr>
        <p:spPr>
          <a:xfrm>
            <a:off x="620869" y="1521371"/>
            <a:ext cx="360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 Placeholder 12">
            <a:extLst>
              <a:ext uri="{FF2B5EF4-FFF2-40B4-BE49-F238E27FC236}">
                <a16:creationId xmlns:a16="http://schemas.microsoft.com/office/drawing/2014/main" id="{B6259859-84EC-3F36-BA42-4E6F5010A53E}"/>
              </a:ext>
            </a:extLst>
          </p:cNvPr>
          <p:cNvSpPr>
            <a:spLocks noGrp="1"/>
          </p:cNvSpPr>
          <p:nvPr>
            <p:ph type="body" sz="quarter" idx="10"/>
          </p:nvPr>
        </p:nvSpPr>
        <p:spPr>
          <a:xfrm>
            <a:off x="620713" y="1852613"/>
            <a:ext cx="10521950" cy="727646"/>
          </a:xfrm>
          <a:prstGeom prst="rect">
            <a:avLst/>
          </a:prstGeom>
        </p:spPr>
        <p:txBody>
          <a:bodyPr lIns="0" tIns="0" rIns="0" bIns="0">
            <a:noAutofit/>
          </a:bodyPr>
          <a:lstStyle>
            <a:lvl1pPr marL="0" indent="0">
              <a:buNone/>
              <a:defRPr sz="2400" b="1">
                <a:solidFill>
                  <a:schemeClr val="accent1"/>
                </a:solidFill>
              </a:defRPr>
            </a:lvl1pPr>
          </a:lstStyle>
          <a:p>
            <a:pPr lvl="0"/>
            <a:r>
              <a:rPr lang="en-GB"/>
              <a:t>Click to edit Master text styles</a:t>
            </a:r>
          </a:p>
        </p:txBody>
      </p:sp>
      <p:sp>
        <p:nvSpPr>
          <p:cNvPr id="16" name="Content Placeholder 15">
            <a:extLst>
              <a:ext uri="{FF2B5EF4-FFF2-40B4-BE49-F238E27FC236}">
                <a16:creationId xmlns:a16="http://schemas.microsoft.com/office/drawing/2014/main" id="{E7A325AD-730D-9E9E-FCC6-182CF5EA43AA}"/>
              </a:ext>
            </a:extLst>
          </p:cNvPr>
          <p:cNvSpPr>
            <a:spLocks noGrp="1"/>
          </p:cNvSpPr>
          <p:nvPr>
            <p:ph sz="quarter" idx="12"/>
          </p:nvPr>
        </p:nvSpPr>
        <p:spPr>
          <a:xfrm>
            <a:off x="606581" y="2911499"/>
            <a:ext cx="10536082" cy="3365309"/>
          </a:xfrm>
          <a:prstGeom prst="rect">
            <a:avLst/>
          </a:prstGeom>
        </p:spPr>
        <p:txBody>
          <a:bodyPr lIns="0" tIns="0" rIns="0" bIns="0"/>
          <a:lstStyle>
            <a:lvl1pPr marL="0" indent="0">
              <a:buNone/>
              <a:defRPr sz="1800">
                <a:solidFill>
                  <a:schemeClr val="tx1"/>
                </a:solidFill>
              </a:defRPr>
            </a:lvl1pPr>
          </a:lstStyle>
          <a:p>
            <a:pPr lvl="0"/>
            <a:r>
              <a:rPr lang="en-GB"/>
              <a:t>Click to edit Master text styles</a:t>
            </a:r>
          </a:p>
        </p:txBody>
      </p:sp>
    </p:spTree>
    <p:extLst>
      <p:ext uri="{BB962C8B-B14F-4D97-AF65-F5344CB8AC3E}">
        <p14:creationId xmlns:p14="http://schemas.microsoft.com/office/powerpoint/2010/main" val="5147989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DD3535B-B63A-8D35-0B00-2161FBD96151}"/>
              </a:ext>
            </a:extLst>
          </p:cNvPr>
          <p:cNvGrpSpPr/>
          <p:nvPr userDrawn="1"/>
        </p:nvGrpSpPr>
        <p:grpSpPr>
          <a:xfrm>
            <a:off x="10238994" y="-152938"/>
            <a:ext cx="2580510" cy="2004888"/>
            <a:chOff x="10238994" y="-152938"/>
            <a:chExt cx="2580510" cy="2004888"/>
          </a:xfrm>
        </p:grpSpPr>
        <p:pic>
          <p:nvPicPr>
            <p:cNvPr id="3" name="Picture 2" descr="A picture containing weapon, spring, wave&#10;&#10;Description automatically generated">
              <a:extLst>
                <a:ext uri="{FF2B5EF4-FFF2-40B4-BE49-F238E27FC236}">
                  <a16:creationId xmlns:a16="http://schemas.microsoft.com/office/drawing/2014/main" id="{2F71B9E9-D6F6-666A-9ADB-7E53FC0DAE2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4" name="Picture 3" descr="Icon&#10;&#10;Description automatically generated">
              <a:extLst>
                <a:ext uri="{FF2B5EF4-FFF2-40B4-BE49-F238E27FC236}">
                  <a16:creationId xmlns:a16="http://schemas.microsoft.com/office/drawing/2014/main" id="{F79C9304-90A3-A2E8-6CCC-9F739C84EA1C}"/>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8" name="Picture Placeholder 11">
            <a:extLst>
              <a:ext uri="{FF2B5EF4-FFF2-40B4-BE49-F238E27FC236}">
                <a16:creationId xmlns:a16="http://schemas.microsoft.com/office/drawing/2014/main" id="{F3B4E96F-E448-7AB0-F151-B2DF8A5BA3E9}"/>
              </a:ext>
            </a:extLst>
          </p:cNvPr>
          <p:cNvSpPr>
            <a:spLocks noGrp="1"/>
          </p:cNvSpPr>
          <p:nvPr>
            <p:ph type="pic" sz="quarter" idx="10"/>
          </p:nvPr>
        </p:nvSpPr>
        <p:spPr>
          <a:xfrm>
            <a:off x="953088" y="2374969"/>
            <a:ext cx="1998341" cy="1998341"/>
          </a:xfrm>
          <a:prstGeom prst="ellipse">
            <a:avLst/>
          </a:prstGeom>
          <a:pattFill prst="pct5">
            <a:fgClr>
              <a:schemeClr val="bg2"/>
            </a:fgClr>
            <a:bgClr>
              <a:schemeClr val="accent1"/>
            </a:bgClr>
          </a:pattFill>
        </p:spPr>
        <p:txBody>
          <a:bodyPr/>
          <a:lstStyle>
            <a:lvl1pPr>
              <a:defRPr sz="2000"/>
            </a:lvl1pPr>
          </a:lstStyle>
          <a:p>
            <a:endParaRPr lang="en-RO"/>
          </a:p>
        </p:txBody>
      </p:sp>
      <p:sp>
        <p:nvSpPr>
          <p:cNvPr id="9" name="Text Placeholder 18">
            <a:extLst>
              <a:ext uri="{FF2B5EF4-FFF2-40B4-BE49-F238E27FC236}">
                <a16:creationId xmlns:a16="http://schemas.microsoft.com/office/drawing/2014/main" id="{3B3C38DB-88E2-9C2A-88F6-E0F04BE22A94}"/>
              </a:ext>
            </a:extLst>
          </p:cNvPr>
          <p:cNvSpPr>
            <a:spLocks noGrp="1"/>
          </p:cNvSpPr>
          <p:nvPr>
            <p:ph type="body" sz="quarter" idx="12"/>
          </p:nvPr>
        </p:nvSpPr>
        <p:spPr>
          <a:xfrm>
            <a:off x="620713" y="4619692"/>
            <a:ext cx="2663091" cy="551948"/>
          </a:xfrm>
          <a:prstGeom prst="rect">
            <a:avLst/>
          </a:prstGeom>
        </p:spPr>
        <p:txBody>
          <a:bodyPr/>
          <a:lstStyle>
            <a:lvl1pPr marL="0" indent="0" algn="ctr">
              <a:buNone/>
              <a:defRPr sz="1800" b="1">
                <a:solidFill>
                  <a:schemeClr val="accent1"/>
                </a:solidFill>
              </a:defRPr>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GB"/>
              <a:t>Click to edit Master text styles</a:t>
            </a:r>
          </a:p>
        </p:txBody>
      </p:sp>
      <p:sp>
        <p:nvSpPr>
          <p:cNvPr id="10" name="Title 1">
            <a:extLst>
              <a:ext uri="{FF2B5EF4-FFF2-40B4-BE49-F238E27FC236}">
                <a16:creationId xmlns:a16="http://schemas.microsoft.com/office/drawing/2014/main" id="{98FF50E2-7DF6-5B09-5FA0-CFF4C8C45910}"/>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sz="3500" b="1"/>
            </a:lvl1pPr>
          </a:lstStyle>
          <a:p>
            <a:r>
              <a:rPr lang="en-US"/>
              <a:t>Click to edit </a:t>
            </a:r>
            <a:br>
              <a:rPr lang="en-US"/>
            </a:br>
            <a:r>
              <a:rPr lang="en-US"/>
              <a:t>Master title style</a:t>
            </a:r>
          </a:p>
        </p:txBody>
      </p:sp>
      <p:cxnSp>
        <p:nvCxnSpPr>
          <p:cNvPr id="11" name="Straight Connector 10">
            <a:extLst>
              <a:ext uri="{FF2B5EF4-FFF2-40B4-BE49-F238E27FC236}">
                <a16:creationId xmlns:a16="http://schemas.microsoft.com/office/drawing/2014/main" id="{7AF55C51-577A-986B-8968-EBDA25CDF7A7}"/>
              </a:ext>
            </a:extLst>
          </p:cNvPr>
          <p:cNvCxnSpPr/>
          <p:nvPr userDrawn="1"/>
        </p:nvCxnSpPr>
        <p:spPr>
          <a:xfrm>
            <a:off x="620869" y="1521371"/>
            <a:ext cx="360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Picture Placeholder 11">
            <a:extLst>
              <a:ext uri="{FF2B5EF4-FFF2-40B4-BE49-F238E27FC236}">
                <a16:creationId xmlns:a16="http://schemas.microsoft.com/office/drawing/2014/main" id="{AA37781C-A758-43A0-EDC7-95C76A62B533}"/>
              </a:ext>
            </a:extLst>
          </p:cNvPr>
          <p:cNvSpPr>
            <a:spLocks noGrp="1"/>
          </p:cNvSpPr>
          <p:nvPr>
            <p:ph type="pic" sz="quarter" idx="14"/>
          </p:nvPr>
        </p:nvSpPr>
        <p:spPr>
          <a:xfrm>
            <a:off x="3708973" y="2374969"/>
            <a:ext cx="1998341" cy="1998341"/>
          </a:xfrm>
          <a:prstGeom prst="ellipse">
            <a:avLst/>
          </a:prstGeom>
          <a:pattFill prst="pct5">
            <a:fgClr>
              <a:schemeClr val="bg2"/>
            </a:fgClr>
            <a:bgClr>
              <a:schemeClr val="accent1"/>
            </a:bgClr>
          </a:pattFill>
        </p:spPr>
        <p:txBody>
          <a:bodyPr/>
          <a:lstStyle>
            <a:lvl1pPr>
              <a:defRPr sz="2000"/>
            </a:lvl1pPr>
          </a:lstStyle>
          <a:p>
            <a:endParaRPr lang="en-RO"/>
          </a:p>
        </p:txBody>
      </p:sp>
      <p:sp>
        <p:nvSpPr>
          <p:cNvPr id="14" name="Picture Placeholder 11">
            <a:extLst>
              <a:ext uri="{FF2B5EF4-FFF2-40B4-BE49-F238E27FC236}">
                <a16:creationId xmlns:a16="http://schemas.microsoft.com/office/drawing/2014/main" id="{1A896292-AD70-2E99-DDFB-29B64DF3745F}"/>
              </a:ext>
            </a:extLst>
          </p:cNvPr>
          <p:cNvSpPr>
            <a:spLocks noGrp="1"/>
          </p:cNvSpPr>
          <p:nvPr>
            <p:ph type="pic" sz="quarter" idx="15"/>
          </p:nvPr>
        </p:nvSpPr>
        <p:spPr>
          <a:xfrm>
            <a:off x="6480766" y="2374969"/>
            <a:ext cx="1998341" cy="1998341"/>
          </a:xfrm>
          <a:prstGeom prst="ellipse">
            <a:avLst/>
          </a:prstGeom>
          <a:pattFill prst="pct5">
            <a:fgClr>
              <a:schemeClr val="bg2"/>
            </a:fgClr>
            <a:bgClr>
              <a:schemeClr val="accent1"/>
            </a:bgClr>
          </a:pattFill>
        </p:spPr>
        <p:txBody>
          <a:bodyPr/>
          <a:lstStyle>
            <a:lvl1pPr>
              <a:defRPr sz="2000"/>
            </a:lvl1pPr>
          </a:lstStyle>
          <a:p>
            <a:endParaRPr lang="en-RO"/>
          </a:p>
        </p:txBody>
      </p:sp>
      <p:sp>
        <p:nvSpPr>
          <p:cNvPr id="15" name="Picture Placeholder 11">
            <a:extLst>
              <a:ext uri="{FF2B5EF4-FFF2-40B4-BE49-F238E27FC236}">
                <a16:creationId xmlns:a16="http://schemas.microsoft.com/office/drawing/2014/main" id="{AEE03BF4-8EF4-DF5D-B532-32718844A638}"/>
              </a:ext>
            </a:extLst>
          </p:cNvPr>
          <p:cNvSpPr>
            <a:spLocks noGrp="1"/>
          </p:cNvSpPr>
          <p:nvPr>
            <p:ph type="pic" sz="quarter" idx="16"/>
          </p:nvPr>
        </p:nvSpPr>
        <p:spPr>
          <a:xfrm>
            <a:off x="9226006" y="2374969"/>
            <a:ext cx="1998341" cy="1998341"/>
          </a:xfrm>
          <a:prstGeom prst="ellipse">
            <a:avLst/>
          </a:prstGeom>
          <a:pattFill prst="pct5">
            <a:fgClr>
              <a:schemeClr val="bg2"/>
            </a:fgClr>
            <a:bgClr>
              <a:schemeClr val="accent1"/>
            </a:bgClr>
          </a:pattFill>
        </p:spPr>
        <p:txBody>
          <a:bodyPr/>
          <a:lstStyle>
            <a:lvl1pPr>
              <a:defRPr sz="2000"/>
            </a:lvl1pPr>
          </a:lstStyle>
          <a:p>
            <a:endParaRPr lang="en-RO"/>
          </a:p>
        </p:txBody>
      </p:sp>
      <p:sp>
        <p:nvSpPr>
          <p:cNvPr id="16" name="Text Placeholder 18">
            <a:extLst>
              <a:ext uri="{FF2B5EF4-FFF2-40B4-BE49-F238E27FC236}">
                <a16:creationId xmlns:a16="http://schemas.microsoft.com/office/drawing/2014/main" id="{BF8143EB-0C48-351C-81B2-D5C9BE462D39}"/>
              </a:ext>
            </a:extLst>
          </p:cNvPr>
          <p:cNvSpPr>
            <a:spLocks noGrp="1"/>
          </p:cNvSpPr>
          <p:nvPr>
            <p:ph type="body" sz="quarter" idx="17"/>
          </p:nvPr>
        </p:nvSpPr>
        <p:spPr>
          <a:xfrm>
            <a:off x="3369531" y="4619692"/>
            <a:ext cx="2677224" cy="551948"/>
          </a:xfrm>
          <a:prstGeom prst="rect">
            <a:avLst/>
          </a:prstGeom>
        </p:spPr>
        <p:txBody>
          <a:bodyPr/>
          <a:lstStyle>
            <a:lvl1pPr marL="0" indent="0" algn="ctr">
              <a:buNone/>
              <a:defRPr sz="1800" b="1">
                <a:solidFill>
                  <a:schemeClr val="accent1"/>
                </a:solidFill>
              </a:defRPr>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GB"/>
              <a:t>Click to edit Master text styles</a:t>
            </a:r>
          </a:p>
        </p:txBody>
      </p:sp>
      <p:sp>
        <p:nvSpPr>
          <p:cNvPr id="17" name="Text Placeholder 18">
            <a:extLst>
              <a:ext uri="{FF2B5EF4-FFF2-40B4-BE49-F238E27FC236}">
                <a16:creationId xmlns:a16="http://schemas.microsoft.com/office/drawing/2014/main" id="{FABB4B49-D6E6-0703-AEC2-9BB449A85E40}"/>
              </a:ext>
            </a:extLst>
          </p:cNvPr>
          <p:cNvSpPr>
            <a:spLocks noGrp="1"/>
          </p:cNvSpPr>
          <p:nvPr>
            <p:ph type="body" sz="quarter" idx="18"/>
          </p:nvPr>
        </p:nvSpPr>
        <p:spPr>
          <a:xfrm>
            <a:off x="6141324" y="4619692"/>
            <a:ext cx="2677224" cy="551948"/>
          </a:xfrm>
          <a:prstGeom prst="rect">
            <a:avLst/>
          </a:prstGeom>
        </p:spPr>
        <p:txBody>
          <a:bodyPr/>
          <a:lstStyle>
            <a:lvl1pPr marL="0" indent="0" algn="ctr">
              <a:buNone/>
              <a:defRPr sz="1800" b="1">
                <a:solidFill>
                  <a:schemeClr val="accent1"/>
                </a:solidFill>
              </a:defRPr>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GB"/>
              <a:t>Click to edit Master text styles</a:t>
            </a:r>
          </a:p>
        </p:txBody>
      </p:sp>
      <p:sp>
        <p:nvSpPr>
          <p:cNvPr id="18" name="Text Placeholder 18">
            <a:extLst>
              <a:ext uri="{FF2B5EF4-FFF2-40B4-BE49-F238E27FC236}">
                <a16:creationId xmlns:a16="http://schemas.microsoft.com/office/drawing/2014/main" id="{7DCD7314-C6DC-3B87-D214-F292F483ABFD}"/>
              </a:ext>
            </a:extLst>
          </p:cNvPr>
          <p:cNvSpPr>
            <a:spLocks noGrp="1"/>
          </p:cNvSpPr>
          <p:nvPr>
            <p:ph type="body" sz="quarter" idx="19"/>
          </p:nvPr>
        </p:nvSpPr>
        <p:spPr>
          <a:xfrm>
            <a:off x="8888775" y="4619692"/>
            <a:ext cx="2672802" cy="551948"/>
          </a:xfrm>
          <a:prstGeom prst="rect">
            <a:avLst/>
          </a:prstGeom>
        </p:spPr>
        <p:txBody>
          <a:bodyPr/>
          <a:lstStyle>
            <a:lvl1pPr marL="0" indent="0" algn="ctr">
              <a:buNone/>
              <a:defRPr sz="1800" b="1">
                <a:solidFill>
                  <a:schemeClr val="accent1"/>
                </a:solidFill>
              </a:defRPr>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GB"/>
              <a:t>Click to edit Master text styles</a:t>
            </a:r>
          </a:p>
        </p:txBody>
      </p:sp>
      <p:sp>
        <p:nvSpPr>
          <p:cNvPr id="24" name="Text Placeholder 18">
            <a:extLst>
              <a:ext uri="{FF2B5EF4-FFF2-40B4-BE49-F238E27FC236}">
                <a16:creationId xmlns:a16="http://schemas.microsoft.com/office/drawing/2014/main" id="{5A1C2AC0-F4EC-4576-33FD-23C18088E653}"/>
              </a:ext>
            </a:extLst>
          </p:cNvPr>
          <p:cNvSpPr>
            <a:spLocks noGrp="1"/>
          </p:cNvSpPr>
          <p:nvPr>
            <p:ph type="body" sz="quarter" idx="20"/>
          </p:nvPr>
        </p:nvSpPr>
        <p:spPr>
          <a:xfrm>
            <a:off x="620713" y="5255122"/>
            <a:ext cx="2663091" cy="551948"/>
          </a:xfrm>
          <a:prstGeom prst="rect">
            <a:avLst/>
          </a:prstGeom>
        </p:spPr>
        <p:txBody>
          <a:bodyPr/>
          <a:lstStyle>
            <a:lvl1pPr marL="0" indent="0" algn="ctr">
              <a:buNone/>
              <a:defRPr sz="1600" b="0"/>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GB"/>
              <a:t>Click to edit Master text styles</a:t>
            </a:r>
          </a:p>
        </p:txBody>
      </p:sp>
      <p:sp>
        <p:nvSpPr>
          <p:cNvPr id="25" name="Text Placeholder 18">
            <a:extLst>
              <a:ext uri="{FF2B5EF4-FFF2-40B4-BE49-F238E27FC236}">
                <a16:creationId xmlns:a16="http://schemas.microsoft.com/office/drawing/2014/main" id="{2FCD7256-32B4-C3E3-2686-31ED4DC1460E}"/>
              </a:ext>
            </a:extLst>
          </p:cNvPr>
          <p:cNvSpPr>
            <a:spLocks noGrp="1"/>
          </p:cNvSpPr>
          <p:nvPr>
            <p:ph type="body" sz="quarter" idx="21"/>
          </p:nvPr>
        </p:nvSpPr>
        <p:spPr>
          <a:xfrm>
            <a:off x="3369531" y="5255122"/>
            <a:ext cx="2677224" cy="551948"/>
          </a:xfrm>
          <a:prstGeom prst="rect">
            <a:avLst/>
          </a:prstGeom>
        </p:spPr>
        <p:txBody>
          <a:bodyPr/>
          <a:lstStyle>
            <a:lvl1pPr marL="0" indent="0" algn="ctr">
              <a:buNone/>
              <a:defRPr sz="1600" b="0"/>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GB"/>
              <a:t>Click to edit Master text styles</a:t>
            </a:r>
          </a:p>
        </p:txBody>
      </p:sp>
      <p:sp>
        <p:nvSpPr>
          <p:cNvPr id="26" name="Text Placeholder 18">
            <a:extLst>
              <a:ext uri="{FF2B5EF4-FFF2-40B4-BE49-F238E27FC236}">
                <a16:creationId xmlns:a16="http://schemas.microsoft.com/office/drawing/2014/main" id="{A26E65D8-E389-FF1A-BB2F-C9ACE2F3B7E5}"/>
              </a:ext>
            </a:extLst>
          </p:cNvPr>
          <p:cNvSpPr>
            <a:spLocks noGrp="1"/>
          </p:cNvSpPr>
          <p:nvPr>
            <p:ph type="body" sz="quarter" idx="22"/>
          </p:nvPr>
        </p:nvSpPr>
        <p:spPr>
          <a:xfrm>
            <a:off x="6141324" y="5255122"/>
            <a:ext cx="2677224" cy="551948"/>
          </a:xfrm>
          <a:prstGeom prst="rect">
            <a:avLst/>
          </a:prstGeom>
        </p:spPr>
        <p:txBody>
          <a:bodyPr/>
          <a:lstStyle>
            <a:lvl1pPr marL="0" indent="0" algn="ctr">
              <a:buNone/>
              <a:defRPr sz="1600" b="0"/>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GB"/>
              <a:t>Click to edit Master text styles</a:t>
            </a:r>
          </a:p>
        </p:txBody>
      </p:sp>
      <p:sp>
        <p:nvSpPr>
          <p:cNvPr id="27" name="Text Placeholder 18">
            <a:extLst>
              <a:ext uri="{FF2B5EF4-FFF2-40B4-BE49-F238E27FC236}">
                <a16:creationId xmlns:a16="http://schemas.microsoft.com/office/drawing/2014/main" id="{76E75444-F0C0-BE33-1362-E53191B80EE4}"/>
              </a:ext>
            </a:extLst>
          </p:cNvPr>
          <p:cNvSpPr>
            <a:spLocks noGrp="1"/>
          </p:cNvSpPr>
          <p:nvPr>
            <p:ph type="body" sz="quarter" idx="23"/>
          </p:nvPr>
        </p:nvSpPr>
        <p:spPr>
          <a:xfrm>
            <a:off x="8888775" y="5255122"/>
            <a:ext cx="2672802" cy="551948"/>
          </a:xfrm>
          <a:prstGeom prst="rect">
            <a:avLst/>
          </a:prstGeom>
        </p:spPr>
        <p:txBody>
          <a:bodyPr/>
          <a:lstStyle>
            <a:lvl1pPr marL="0" indent="0" algn="ctr">
              <a:buNone/>
              <a:defRPr sz="1600" b="0"/>
            </a:lvl1pPr>
            <a:lvl2pPr marL="457200" indent="0">
              <a:buNone/>
              <a:defRPr sz="1600" b="1"/>
            </a:lvl2pPr>
            <a:lvl3pPr marL="914400" indent="0">
              <a:buNone/>
              <a:defRPr sz="1600" b="1"/>
            </a:lvl3pPr>
            <a:lvl4pPr marL="1371600" indent="0">
              <a:buNone/>
              <a:defRPr sz="1600" b="1"/>
            </a:lvl4pPr>
            <a:lvl5pPr marL="1828800" indent="0">
              <a:buNone/>
              <a:defRPr sz="1600" b="1"/>
            </a:lvl5pPr>
          </a:lstStyle>
          <a:p>
            <a:pPr lvl="0"/>
            <a:r>
              <a:rPr lang="en-GB"/>
              <a:t>Click to edit Master text styles</a:t>
            </a:r>
          </a:p>
        </p:txBody>
      </p:sp>
    </p:spTree>
    <p:extLst>
      <p:ext uri="{BB962C8B-B14F-4D97-AF65-F5344CB8AC3E}">
        <p14:creationId xmlns:p14="http://schemas.microsoft.com/office/powerpoint/2010/main" val="290726060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7" name="Image 2">
            <a:extLst>
              <a:ext uri="{FF2B5EF4-FFF2-40B4-BE49-F238E27FC236}">
                <a16:creationId xmlns:a16="http://schemas.microsoft.com/office/drawing/2014/main" id="{19F2F99F-EF9F-ADFE-AB43-43596AF2DF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75317" y="721551"/>
            <a:ext cx="8055000" cy="5378063"/>
          </a:xfrm>
          <a:prstGeom prst="rect">
            <a:avLst/>
          </a:prstGeom>
        </p:spPr>
      </p:pic>
      <p:pic>
        <p:nvPicPr>
          <p:cNvPr id="8" name="Google Shape;121;p23">
            <a:extLst>
              <a:ext uri="{FF2B5EF4-FFF2-40B4-BE49-F238E27FC236}">
                <a16:creationId xmlns:a16="http://schemas.microsoft.com/office/drawing/2014/main" id="{41FDA795-F98C-7558-6CE8-B175A03AF169}"/>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a:off x="5175924" y="5522443"/>
            <a:ext cx="1840152" cy="412768"/>
          </a:xfrm>
          <a:prstGeom prst="rect">
            <a:avLst/>
          </a:prstGeom>
          <a:noFill/>
          <a:ln>
            <a:noFill/>
          </a:ln>
        </p:spPr>
      </p:pic>
      <p:sp>
        <p:nvSpPr>
          <p:cNvPr id="9" name="Google Shape;122;p23">
            <a:extLst>
              <a:ext uri="{FF2B5EF4-FFF2-40B4-BE49-F238E27FC236}">
                <a16:creationId xmlns:a16="http://schemas.microsoft.com/office/drawing/2014/main" id="{201A7452-1826-BE81-DD45-C01300DDB81C}"/>
              </a:ext>
            </a:extLst>
          </p:cNvPr>
          <p:cNvSpPr txBox="1"/>
          <p:nvPr userDrawn="1"/>
        </p:nvSpPr>
        <p:spPr>
          <a:xfrm>
            <a:off x="4934857" y="6027611"/>
            <a:ext cx="2322286"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fr-FR" sz="1400" b="0" i="0" u="none" strike="noStrike" cap="none">
                <a:solidFill>
                  <a:srgbClr val="000000"/>
                </a:solidFill>
                <a:latin typeface="Arial"/>
                <a:ea typeface="Arial"/>
                <a:cs typeface="Arial"/>
                <a:sym typeface="Arial"/>
              </a:rPr>
              <a:t>www.gardp.org</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84892595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Google Shape;39;p35">
            <a:extLst>
              <a:ext uri="{FF2B5EF4-FFF2-40B4-BE49-F238E27FC236}">
                <a16:creationId xmlns:a16="http://schemas.microsoft.com/office/drawing/2014/main" id="{CDC95EF7-BC99-48DB-7E3A-1F5BE5113E23}"/>
              </a:ext>
            </a:extLst>
          </p:cNvPr>
          <p:cNvSpPr txBox="1">
            <a:spLocks noGrp="1"/>
          </p:cNvSpPr>
          <p:nvPr>
            <p:ph type="subTitle" idx="1"/>
          </p:nvPr>
        </p:nvSpPr>
        <p:spPr>
          <a:xfrm>
            <a:off x="552450" y="3003324"/>
            <a:ext cx="5989864" cy="1655762"/>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18A1AB"/>
              </a:buClr>
              <a:buSzPts val="2700"/>
              <a:buFont typeface="Arial"/>
              <a:buNone/>
              <a:defRPr sz="2700" b="0" i="0" u="none" strike="noStrike" cap="none">
                <a:solidFill>
                  <a:srgbClr val="18A1AB"/>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r>
              <a:rPr lang="en-US"/>
              <a:t>Click to edit Master subtitle style</a:t>
            </a:r>
            <a:endParaRPr/>
          </a:p>
        </p:txBody>
      </p:sp>
      <p:sp>
        <p:nvSpPr>
          <p:cNvPr id="8" name="Google Shape;40;p35">
            <a:extLst>
              <a:ext uri="{FF2B5EF4-FFF2-40B4-BE49-F238E27FC236}">
                <a16:creationId xmlns:a16="http://schemas.microsoft.com/office/drawing/2014/main" id="{7AC2D408-C378-5259-A13C-88493EE6B9C3}"/>
              </a:ext>
            </a:extLst>
          </p:cNvPr>
          <p:cNvSpPr txBox="1">
            <a:spLocks noGrp="1"/>
          </p:cNvSpPr>
          <p:nvPr>
            <p:ph type="ctrTitle"/>
          </p:nvPr>
        </p:nvSpPr>
        <p:spPr>
          <a:xfrm>
            <a:off x="552450" y="702810"/>
            <a:ext cx="9144000" cy="2052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0D202F"/>
              </a:buClr>
              <a:buSzPts val="6500"/>
              <a:buFont typeface="Arial"/>
              <a:buNone/>
              <a:defRPr sz="6500" b="1" i="0" u="none" strike="noStrike" cap="none">
                <a:solidFill>
                  <a:srgbClr val="0D202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a:t>Click to edit Master title style</a:t>
            </a:r>
            <a:endParaRPr dirty="0"/>
          </a:p>
        </p:txBody>
      </p:sp>
      <p:pic>
        <p:nvPicPr>
          <p:cNvPr id="9" name="Google Shape;41;p35">
            <a:extLst>
              <a:ext uri="{FF2B5EF4-FFF2-40B4-BE49-F238E27FC236}">
                <a16:creationId xmlns:a16="http://schemas.microsoft.com/office/drawing/2014/main" id="{8D3C5317-37A8-016F-29A5-DDCC7B4D5A1C}"/>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552451" y="5724667"/>
            <a:ext cx="2419349" cy="713708"/>
          </a:xfrm>
          <a:prstGeom prst="rect">
            <a:avLst/>
          </a:prstGeom>
          <a:noFill/>
          <a:ln>
            <a:noFill/>
          </a:ln>
        </p:spPr>
      </p:pic>
    </p:spTree>
    <p:extLst>
      <p:ext uri="{BB962C8B-B14F-4D97-AF65-F5344CB8AC3E}">
        <p14:creationId xmlns:p14="http://schemas.microsoft.com/office/powerpoint/2010/main" val="40066887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Disposition personnalisée">
  <p:cSld name="Disposition personnalisée">
    <p:spTree>
      <p:nvGrpSpPr>
        <p:cNvPr id="1" name="Shape 45"/>
        <p:cNvGrpSpPr/>
        <p:nvPr/>
      </p:nvGrpSpPr>
      <p:grpSpPr>
        <a:xfrm>
          <a:off x="0" y="0"/>
          <a:ext cx="0" cy="0"/>
          <a:chOff x="0" y="0"/>
          <a:chExt cx="0" cy="0"/>
        </a:xfrm>
      </p:grpSpPr>
      <p:pic>
        <p:nvPicPr>
          <p:cNvPr id="9" name="Image 8">
            <a:extLst>
              <a:ext uri="{FF2B5EF4-FFF2-40B4-BE49-F238E27FC236}">
                <a16:creationId xmlns:a16="http://schemas.microsoft.com/office/drawing/2014/main" id="{2F4D7B01-A345-5244-BE91-BBB3886A1E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6200000">
            <a:off x="9187296" y="3853293"/>
            <a:ext cx="2595279" cy="3439886"/>
          </a:xfrm>
          <a:prstGeom prst="rect">
            <a:avLst/>
          </a:prstGeom>
        </p:spPr>
      </p:pic>
      <p:sp>
        <p:nvSpPr>
          <p:cNvPr id="46" name="Google Shape;46;p13"/>
          <p:cNvSpPr txBox="1">
            <a:spLocks noGrp="1"/>
          </p:cNvSpPr>
          <p:nvPr>
            <p:ph type="title"/>
          </p:nvPr>
        </p:nvSpPr>
        <p:spPr>
          <a:xfrm>
            <a:off x="495299" y="536577"/>
            <a:ext cx="11206162"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D202F"/>
              </a:buClr>
              <a:buSzPts val="3500"/>
              <a:buFont typeface="Arial"/>
              <a:buNone/>
              <a:defRPr sz="35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8" name="Google Shape;48;p13"/>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1131153" y="5031782"/>
            <a:ext cx="2633266" cy="2633266"/>
          </a:xfrm>
          <a:prstGeom prst="rect">
            <a:avLst/>
          </a:prstGeom>
          <a:noFill/>
          <a:ln>
            <a:noFill/>
          </a:ln>
        </p:spPr>
      </p:pic>
      <p:pic>
        <p:nvPicPr>
          <p:cNvPr id="49" name="Google Shape;49;p13"/>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878343" y="6348415"/>
            <a:ext cx="823119" cy="823119"/>
          </a:xfrm>
          <a:prstGeom prst="rect">
            <a:avLst/>
          </a:prstGeom>
          <a:noFill/>
          <a:ln>
            <a:noFill/>
          </a:ln>
        </p:spPr>
      </p:pic>
      <p:sp>
        <p:nvSpPr>
          <p:cNvPr id="50" name="Google Shape;50;p13"/>
          <p:cNvSpPr txBox="1">
            <a:spLocks noGrp="1"/>
          </p:cNvSpPr>
          <p:nvPr>
            <p:ph type="body" idx="1"/>
          </p:nvPr>
        </p:nvSpPr>
        <p:spPr>
          <a:xfrm>
            <a:off x="495299" y="2038601"/>
            <a:ext cx="11206162" cy="418623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18A1AB"/>
              </a:buClr>
              <a:buSzPts val="24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077217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Diapositive de titre" preserve="1">
  <p:cSld name="Diapositive de titre">
    <p:bg>
      <p:bgPr>
        <a:blipFill dpi="0" rotWithShape="1">
          <a:blip r:embed="rId2">
            <a:lum/>
          </a:blip>
          <a:srcRect/>
          <a:stretch>
            <a:fillRect/>
          </a:stretch>
        </a:blipFill>
        <a:effectLst/>
      </p:bgPr>
    </p:bg>
    <p:spTree>
      <p:nvGrpSpPr>
        <p:cNvPr id="1" name="Shape 83"/>
        <p:cNvGrpSpPr/>
        <p:nvPr/>
      </p:nvGrpSpPr>
      <p:grpSpPr>
        <a:xfrm>
          <a:off x="0" y="0"/>
          <a:ext cx="0" cy="0"/>
          <a:chOff x="0" y="0"/>
          <a:chExt cx="0" cy="0"/>
        </a:xfrm>
      </p:grpSpPr>
      <p:sp>
        <p:nvSpPr>
          <p:cNvPr id="84" name="Google Shape;84;p30"/>
          <p:cNvSpPr/>
          <p:nvPr/>
        </p:nvSpPr>
        <p:spPr>
          <a:xfrm>
            <a:off x="0" y="0"/>
            <a:ext cx="12192000" cy="6858000"/>
          </a:xfrm>
          <a:prstGeom prst="rect">
            <a:avLst/>
          </a:prstGeom>
          <a:solidFill>
            <a:srgbClr val="0D1F2F">
              <a:alpha val="29803"/>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85" name="Google Shape;85;p30"/>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 name="Google Shape;86;p30"/>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7" name="Google Shape;87;p30"/>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5092934">
            <a:off x="9076530" y="-943636"/>
            <a:ext cx="3182937" cy="3182937"/>
          </a:xfrm>
          <a:prstGeom prst="rect">
            <a:avLst/>
          </a:prstGeom>
          <a:noFill/>
          <a:ln>
            <a:noFill/>
          </a:ln>
        </p:spPr>
      </p:pic>
      <p:pic>
        <p:nvPicPr>
          <p:cNvPr id="88" name="Google Shape;88;p30"/>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04949" y="5808726"/>
            <a:ext cx="1149978" cy="1158134"/>
          </a:xfrm>
          <a:prstGeom prst="rect">
            <a:avLst/>
          </a:prstGeom>
          <a:noFill/>
          <a:ln>
            <a:noFill/>
          </a:ln>
        </p:spPr>
      </p:pic>
    </p:spTree>
    <p:extLst>
      <p:ext uri="{BB962C8B-B14F-4D97-AF65-F5344CB8AC3E}">
        <p14:creationId xmlns:p14="http://schemas.microsoft.com/office/powerpoint/2010/main" val="25131335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Diapositive de titre" preserve="1">
  <p:cSld name="1_Diapositive de titre">
    <p:bg>
      <p:bgPr>
        <a:blipFill dpi="0" rotWithShape="1">
          <a:blip r:embed="rId2">
            <a:lum/>
          </a:blip>
          <a:srcRect/>
          <a:stretch>
            <a:fillRect/>
          </a:stretch>
        </a:blipFill>
        <a:effectLst/>
      </p:bgPr>
    </p:bg>
    <p:spTree>
      <p:nvGrpSpPr>
        <p:cNvPr id="1" name="Shape 83"/>
        <p:cNvGrpSpPr/>
        <p:nvPr/>
      </p:nvGrpSpPr>
      <p:grpSpPr>
        <a:xfrm>
          <a:off x="0" y="0"/>
          <a:ext cx="0" cy="0"/>
          <a:chOff x="0" y="0"/>
          <a:chExt cx="0" cy="0"/>
        </a:xfrm>
      </p:grpSpPr>
      <p:sp>
        <p:nvSpPr>
          <p:cNvPr id="84" name="Google Shape;84;p30"/>
          <p:cNvSpPr/>
          <p:nvPr/>
        </p:nvSpPr>
        <p:spPr>
          <a:xfrm>
            <a:off x="0" y="0"/>
            <a:ext cx="12192000" cy="6858000"/>
          </a:xfrm>
          <a:prstGeom prst="rect">
            <a:avLst/>
          </a:prstGeom>
          <a:solidFill>
            <a:srgbClr val="0D1F2F">
              <a:alpha val="29803"/>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85" name="Google Shape;85;p30"/>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 name="Google Shape;86;p30"/>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7" name="Google Shape;87;p30"/>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5092934">
            <a:off x="9076530" y="-943636"/>
            <a:ext cx="3182937" cy="3182937"/>
          </a:xfrm>
          <a:prstGeom prst="rect">
            <a:avLst/>
          </a:prstGeom>
          <a:noFill/>
          <a:ln>
            <a:noFill/>
          </a:ln>
        </p:spPr>
      </p:pic>
      <p:pic>
        <p:nvPicPr>
          <p:cNvPr id="88" name="Google Shape;88;p30"/>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04949" y="5808726"/>
            <a:ext cx="1149978" cy="1158134"/>
          </a:xfrm>
          <a:prstGeom prst="rect">
            <a:avLst/>
          </a:prstGeom>
          <a:noFill/>
          <a:ln>
            <a:noFill/>
          </a:ln>
        </p:spPr>
      </p:pic>
    </p:spTree>
    <p:extLst>
      <p:ext uri="{BB962C8B-B14F-4D97-AF65-F5344CB8AC3E}">
        <p14:creationId xmlns:p14="http://schemas.microsoft.com/office/powerpoint/2010/main" val="89123808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2_Diapositive de titre" preserve="1">
  <p:cSld name="2_Diapositive de titr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99" name="Google Shape;99;p32"/>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100" name="Google Shape;100;p32"/>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1015600" y="5757409"/>
            <a:ext cx="1302491" cy="1311729"/>
          </a:xfrm>
          <a:prstGeom prst="rect">
            <a:avLst/>
          </a:prstGeom>
          <a:noFill/>
          <a:ln>
            <a:noFill/>
          </a:ln>
        </p:spPr>
      </p:pic>
    </p:spTree>
    <p:extLst>
      <p:ext uri="{BB962C8B-B14F-4D97-AF65-F5344CB8AC3E}">
        <p14:creationId xmlns:p14="http://schemas.microsoft.com/office/powerpoint/2010/main" val="13272403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99" name="Google Shape;99;p32"/>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100" name="Google Shape;100;p32"/>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1015600" y="5757409"/>
            <a:ext cx="1302491" cy="1311729"/>
          </a:xfrm>
          <a:prstGeom prst="rect">
            <a:avLst/>
          </a:prstGeom>
          <a:noFill/>
          <a:ln>
            <a:noFill/>
          </a:ln>
        </p:spPr>
      </p:pic>
    </p:spTree>
    <p:extLst>
      <p:ext uri="{BB962C8B-B14F-4D97-AF65-F5344CB8AC3E}">
        <p14:creationId xmlns:p14="http://schemas.microsoft.com/office/powerpoint/2010/main" val="5051564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a:lum/>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99" name="Google Shape;99;p32"/>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100" name="Google Shape;100;p32"/>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1015600" y="5757409"/>
            <a:ext cx="1302491" cy="1311729"/>
          </a:xfrm>
          <a:prstGeom prst="rect">
            <a:avLst/>
          </a:prstGeom>
          <a:noFill/>
          <a:ln>
            <a:noFill/>
          </a:ln>
        </p:spPr>
      </p:pic>
    </p:spTree>
    <p:extLst>
      <p:ext uri="{BB962C8B-B14F-4D97-AF65-F5344CB8AC3E}">
        <p14:creationId xmlns:p14="http://schemas.microsoft.com/office/powerpoint/2010/main" val="4481618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a:lum/>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2" name="Picture 1" descr="A picture containing game&#10;&#10;Description automatically generated">
            <a:extLst>
              <a:ext uri="{FF2B5EF4-FFF2-40B4-BE49-F238E27FC236}">
                <a16:creationId xmlns:a16="http://schemas.microsoft.com/office/drawing/2014/main" id="{CD437CE1-1162-4922-A18D-009BAD98E19D}"/>
              </a:ext>
            </a:extLst>
          </p:cNvPr>
          <p:cNvPicPr>
            <a:picLocks noChangeAspect="1"/>
          </p:cNvPicPr>
          <p:nvPr userDrawn="1"/>
        </p:nvPicPr>
        <p:blipFill>
          <a:blip r:embed="rId3"/>
          <a:stretch>
            <a:fillRect/>
          </a:stretch>
        </p:blipFill>
        <p:spPr>
          <a:xfrm>
            <a:off x="10510576" y="4952319"/>
            <a:ext cx="2688053" cy="2688053"/>
          </a:xfrm>
          <a:prstGeom prst="rect">
            <a:avLst/>
          </a:prstGeom>
        </p:spPr>
      </p:pic>
      <p:pic>
        <p:nvPicPr>
          <p:cNvPr id="3" name="Picture 2" descr="A picture containing drawing, light&#10;&#10;Description automatically generated">
            <a:extLst>
              <a:ext uri="{FF2B5EF4-FFF2-40B4-BE49-F238E27FC236}">
                <a16:creationId xmlns:a16="http://schemas.microsoft.com/office/drawing/2014/main" id="{5137FA3E-5053-4F19-A452-DE34F2E6FB69}"/>
              </a:ext>
            </a:extLst>
          </p:cNvPr>
          <p:cNvPicPr>
            <a:picLocks noChangeAspect="1"/>
          </p:cNvPicPr>
          <p:nvPr userDrawn="1"/>
        </p:nvPicPr>
        <p:blipFill>
          <a:blip r:embed="rId4"/>
          <a:stretch>
            <a:fillRect/>
          </a:stretch>
        </p:blipFill>
        <p:spPr>
          <a:xfrm>
            <a:off x="-105705" y="0"/>
            <a:ext cx="1120589" cy="1248656"/>
          </a:xfrm>
          <a:prstGeom prst="rect">
            <a:avLst/>
          </a:prstGeom>
        </p:spPr>
      </p:pic>
    </p:spTree>
    <p:extLst>
      <p:ext uri="{BB962C8B-B14F-4D97-AF65-F5344CB8AC3E}">
        <p14:creationId xmlns:p14="http://schemas.microsoft.com/office/powerpoint/2010/main" val="315182058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a:lum/>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2" name="Picture 1" descr="A picture containing game&#10;&#10;Description automatically generated">
            <a:extLst>
              <a:ext uri="{FF2B5EF4-FFF2-40B4-BE49-F238E27FC236}">
                <a16:creationId xmlns:a16="http://schemas.microsoft.com/office/drawing/2014/main" id="{D7364A4F-8BBA-44B6-82D2-3BACF5DA1AC7}"/>
              </a:ext>
            </a:extLst>
          </p:cNvPr>
          <p:cNvPicPr>
            <a:picLocks noChangeAspect="1"/>
          </p:cNvPicPr>
          <p:nvPr userDrawn="1"/>
        </p:nvPicPr>
        <p:blipFill>
          <a:blip r:embed="rId3"/>
          <a:stretch>
            <a:fillRect/>
          </a:stretch>
        </p:blipFill>
        <p:spPr>
          <a:xfrm>
            <a:off x="10510576" y="4952319"/>
            <a:ext cx="2688053" cy="2688053"/>
          </a:xfrm>
          <a:prstGeom prst="rect">
            <a:avLst/>
          </a:prstGeom>
        </p:spPr>
      </p:pic>
      <p:pic>
        <p:nvPicPr>
          <p:cNvPr id="3" name="Picture 2" descr="A picture containing drawing, light&#10;&#10;Description automatically generated">
            <a:extLst>
              <a:ext uri="{FF2B5EF4-FFF2-40B4-BE49-F238E27FC236}">
                <a16:creationId xmlns:a16="http://schemas.microsoft.com/office/drawing/2014/main" id="{42D8EDC0-197F-4B98-B00C-C5172BE201F4}"/>
              </a:ext>
            </a:extLst>
          </p:cNvPr>
          <p:cNvPicPr>
            <a:picLocks noChangeAspect="1"/>
          </p:cNvPicPr>
          <p:nvPr userDrawn="1"/>
        </p:nvPicPr>
        <p:blipFill>
          <a:blip r:embed="rId4"/>
          <a:stretch>
            <a:fillRect/>
          </a:stretch>
        </p:blipFill>
        <p:spPr>
          <a:xfrm>
            <a:off x="-105705" y="0"/>
            <a:ext cx="1120589" cy="1248656"/>
          </a:xfrm>
          <a:prstGeom prst="rect">
            <a:avLst/>
          </a:prstGeom>
        </p:spPr>
      </p:pic>
    </p:spTree>
    <p:extLst>
      <p:ext uri="{BB962C8B-B14F-4D97-AF65-F5344CB8AC3E}">
        <p14:creationId xmlns:p14="http://schemas.microsoft.com/office/powerpoint/2010/main" val="78550422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a:lum/>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2" name="Picture 1" descr="A picture containing game&#10;&#10;Description automatically generated">
            <a:extLst>
              <a:ext uri="{FF2B5EF4-FFF2-40B4-BE49-F238E27FC236}">
                <a16:creationId xmlns:a16="http://schemas.microsoft.com/office/drawing/2014/main" id="{917738BC-2021-4FD9-8BB1-0E46B4EBA1BB}"/>
              </a:ext>
            </a:extLst>
          </p:cNvPr>
          <p:cNvPicPr>
            <a:picLocks noChangeAspect="1"/>
          </p:cNvPicPr>
          <p:nvPr userDrawn="1"/>
        </p:nvPicPr>
        <p:blipFill>
          <a:blip r:embed="rId3"/>
          <a:stretch>
            <a:fillRect/>
          </a:stretch>
        </p:blipFill>
        <p:spPr>
          <a:xfrm>
            <a:off x="10510576" y="4952319"/>
            <a:ext cx="2688053" cy="2688053"/>
          </a:xfrm>
          <a:prstGeom prst="rect">
            <a:avLst/>
          </a:prstGeom>
        </p:spPr>
      </p:pic>
      <p:pic>
        <p:nvPicPr>
          <p:cNvPr id="3" name="Picture 2" descr="A picture containing drawing, light&#10;&#10;Description automatically generated">
            <a:extLst>
              <a:ext uri="{FF2B5EF4-FFF2-40B4-BE49-F238E27FC236}">
                <a16:creationId xmlns:a16="http://schemas.microsoft.com/office/drawing/2014/main" id="{2A930DF3-3CB4-4ABF-858E-B3436CEB5D42}"/>
              </a:ext>
            </a:extLst>
          </p:cNvPr>
          <p:cNvPicPr>
            <a:picLocks noChangeAspect="1"/>
          </p:cNvPicPr>
          <p:nvPr userDrawn="1"/>
        </p:nvPicPr>
        <p:blipFill>
          <a:blip r:embed="rId4"/>
          <a:stretch>
            <a:fillRect/>
          </a:stretch>
        </p:blipFill>
        <p:spPr>
          <a:xfrm>
            <a:off x="-105705" y="0"/>
            <a:ext cx="1120589" cy="1248656"/>
          </a:xfrm>
          <a:prstGeom prst="rect">
            <a:avLst/>
          </a:prstGeom>
        </p:spPr>
      </p:pic>
    </p:spTree>
    <p:extLst>
      <p:ext uri="{BB962C8B-B14F-4D97-AF65-F5344CB8AC3E}">
        <p14:creationId xmlns:p14="http://schemas.microsoft.com/office/powerpoint/2010/main" val="11172342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a:lum/>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2" name="Picture 1" descr="A picture containing game&#10;&#10;Description automatically generated">
            <a:extLst>
              <a:ext uri="{FF2B5EF4-FFF2-40B4-BE49-F238E27FC236}">
                <a16:creationId xmlns:a16="http://schemas.microsoft.com/office/drawing/2014/main" id="{0928C951-62E1-4713-8D40-25F678BB71EC}"/>
              </a:ext>
            </a:extLst>
          </p:cNvPr>
          <p:cNvPicPr>
            <a:picLocks noChangeAspect="1"/>
          </p:cNvPicPr>
          <p:nvPr userDrawn="1"/>
        </p:nvPicPr>
        <p:blipFill>
          <a:blip r:embed="rId3"/>
          <a:stretch>
            <a:fillRect/>
          </a:stretch>
        </p:blipFill>
        <p:spPr>
          <a:xfrm>
            <a:off x="10510576" y="4952319"/>
            <a:ext cx="2688053" cy="2688053"/>
          </a:xfrm>
          <a:prstGeom prst="rect">
            <a:avLst/>
          </a:prstGeom>
        </p:spPr>
      </p:pic>
      <p:pic>
        <p:nvPicPr>
          <p:cNvPr id="3" name="Picture 2" descr="A picture containing drawing, light&#10;&#10;Description automatically generated">
            <a:extLst>
              <a:ext uri="{FF2B5EF4-FFF2-40B4-BE49-F238E27FC236}">
                <a16:creationId xmlns:a16="http://schemas.microsoft.com/office/drawing/2014/main" id="{4B4F2E09-2178-4900-8115-3A4680E1DFFA}"/>
              </a:ext>
            </a:extLst>
          </p:cNvPr>
          <p:cNvPicPr>
            <a:picLocks noChangeAspect="1"/>
          </p:cNvPicPr>
          <p:nvPr userDrawn="1"/>
        </p:nvPicPr>
        <p:blipFill>
          <a:blip r:embed="rId4"/>
          <a:stretch>
            <a:fillRect/>
          </a:stretch>
        </p:blipFill>
        <p:spPr>
          <a:xfrm>
            <a:off x="-105705" y="0"/>
            <a:ext cx="1120589" cy="1248656"/>
          </a:xfrm>
          <a:prstGeom prst="rect">
            <a:avLst/>
          </a:prstGeom>
        </p:spPr>
      </p:pic>
    </p:spTree>
    <p:extLst>
      <p:ext uri="{BB962C8B-B14F-4D97-AF65-F5344CB8AC3E}">
        <p14:creationId xmlns:p14="http://schemas.microsoft.com/office/powerpoint/2010/main" val="30433670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a:lum/>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2" name="Picture 1" descr="A picture containing game&#10;&#10;Description automatically generated">
            <a:extLst>
              <a:ext uri="{FF2B5EF4-FFF2-40B4-BE49-F238E27FC236}">
                <a16:creationId xmlns:a16="http://schemas.microsoft.com/office/drawing/2014/main" id="{FC49F308-C4F8-4CC4-8DDA-07069D3BB444}"/>
              </a:ext>
            </a:extLst>
          </p:cNvPr>
          <p:cNvPicPr>
            <a:picLocks noChangeAspect="1"/>
          </p:cNvPicPr>
          <p:nvPr userDrawn="1"/>
        </p:nvPicPr>
        <p:blipFill>
          <a:blip r:embed="rId3"/>
          <a:stretch>
            <a:fillRect/>
          </a:stretch>
        </p:blipFill>
        <p:spPr>
          <a:xfrm>
            <a:off x="10510576" y="4952319"/>
            <a:ext cx="2688053" cy="2688053"/>
          </a:xfrm>
          <a:prstGeom prst="rect">
            <a:avLst/>
          </a:prstGeom>
        </p:spPr>
      </p:pic>
      <p:pic>
        <p:nvPicPr>
          <p:cNvPr id="3" name="Picture 2" descr="A picture containing drawing, light&#10;&#10;Description automatically generated">
            <a:extLst>
              <a:ext uri="{FF2B5EF4-FFF2-40B4-BE49-F238E27FC236}">
                <a16:creationId xmlns:a16="http://schemas.microsoft.com/office/drawing/2014/main" id="{547A5BE6-82C7-452E-A5A5-96FA1C84C86E}"/>
              </a:ext>
            </a:extLst>
          </p:cNvPr>
          <p:cNvPicPr>
            <a:picLocks noChangeAspect="1"/>
          </p:cNvPicPr>
          <p:nvPr userDrawn="1"/>
        </p:nvPicPr>
        <p:blipFill>
          <a:blip r:embed="rId4"/>
          <a:stretch>
            <a:fillRect/>
          </a:stretch>
        </p:blipFill>
        <p:spPr>
          <a:xfrm>
            <a:off x="-105705" y="0"/>
            <a:ext cx="1120589" cy="1248656"/>
          </a:xfrm>
          <a:prstGeom prst="rect">
            <a:avLst/>
          </a:prstGeom>
        </p:spPr>
      </p:pic>
    </p:spTree>
    <p:extLst>
      <p:ext uri="{BB962C8B-B14F-4D97-AF65-F5344CB8AC3E}">
        <p14:creationId xmlns:p14="http://schemas.microsoft.com/office/powerpoint/2010/main" val="218096543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3_Diapositive de titre">
  <p:cSld name="3_Diapositive de titre">
    <p:spTree>
      <p:nvGrpSpPr>
        <p:cNvPr id="1" name="Shape 101"/>
        <p:cNvGrpSpPr/>
        <p:nvPr/>
      </p:nvGrpSpPr>
      <p:grpSpPr>
        <a:xfrm>
          <a:off x="0" y="0"/>
          <a:ext cx="0" cy="0"/>
          <a:chOff x="0" y="0"/>
          <a:chExt cx="0" cy="0"/>
        </a:xfrm>
      </p:grpSpPr>
      <p:pic>
        <p:nvPicPr>
          <p:cNvPr id="102" name="Google Shape;102;p21"/>
          <p:cNvPicPr preferRelativeResize="0"/>
          <p:nvPr/>
        </p:nvPicPr>
        <p:blipFill rotWithShape="1">
          <a:blip r:embed="rId2" cstate="screen">
            <a:extLst>
              <a:ext uri="{28A0092B-C50C-407E-A947-70E740481C1C}">
                <a14:useLocalDpi xmlns:a14="http://schemas.microsoft.com/office/drawing/2010/main"/>
              </a:ext>
            </a:extLst>
          </a:blip>
          <a:srcRect/>
          <a:stretch/>
        </p:blipFill>
        <p:spPr>
          <a:xfrm rot="10800000">
            <a:off x="-1" y="-1"/>
            <a:ext cx="2062824" cy="3857624"/>
          </a:xfrm>
          <a:prstGeom prst="rect">
            <a:avLst/>
          </a:prstGeom>
          <a:noFill/>
          <a:ln>
            <a:noFill/>
          </a:ln>
        </p:spPr>
      </p:pic>
      <p:pic>
        <p:nvPicPr>
          <p:cNvPr id="103" name="Google Shape;103;p21"/>
          <p:cNvPicPr preferRelativeResize="0"/>
          <p:nvPr/>
        </p:nvPicPr>
        <p:blipFill rotWithShape="1">
          <a:blip r:embed="rId3" cstate="screen">
            <a:extLst>
              <a:ext uri="{28A0092B-C50C-407E-A947-70E740481C1C}">
                <a14:useLocalDpi xmlns:a14="http://schemas.microsoft.com/office/drawing/2010/main"/>
              </a:ext>
            </a:extLst>
          </a:blip>
          <a:srcRect/>
          <a:stretch/>
        </p:blipFill>
        <p:spPr>
          <a:xfrm>
            <a:off x="7883127" y="2650329"/>
            <a:ext cx="4308874" cy="4207671"/>
          </a:xfrm>
          <a:prstGeom prst="rect">
            <a:avLst/>
          </a:prstGeom>
          <a:noFill/>
          <a:ln>
            <a:noFill/>
          </a:ln>
        </p:spPr>
      </p:pic>
      <p:sp>
        <p:nvSpPr>
          <p:cNvPr id="104" name="Google Shape;104;p21"/>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0D202F"/>
              </a:buClr>
              <a:buSzPts val="6000"/>
              <a:buFont typeface="Arial"/>
              <a:buNone/>
              <a:defRPr sz="6000">
                <a:solidFill>
                  <a:srgbClr val="0D202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 name="Google Shape;105;p21"/>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rgbClr val="0D202F"/>
              </a:buClr>
              <a:buSzPts val="2400"/>
              <a:buNone/>
              <a:defRPr sz="2400" b="0" i="0">
                <a:solidFill>
                  <a:srgbClr val="0D202F"/>
                </a:solidFill>
                <a:latin typeface="Arial"/>
                <a:ea typeface="Arial"/>
                <a:cs typeface="Arial"/>
                <a:sym typeface="Aria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106" name="Google Shape;106;p21"/>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2" y="0"/>
            <a:ext cx="645280" cy="1876592"/>
          </a:xfrm>
          <a:prstGeom prst="rect">
            <a:avLst/>
          </a:prstGeom>
          <a:noFill/>
          <a:ln>
            <a:noFill/>
          </a:ln>
        </p:spPr>
      </p:pic>
      <p:pic>
        <p:nvPicPr>
          <p:cNvPr id="107" name="Google Shape;107;p21"/>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0" y="0"/>
            <a:ext cx="673769" cy="633830"/>
          </a:xfrm>
          <a:prstGeom prst="rect">
            <a:avLst/>
          </a:prstGeom>
          <a:noFill/>
          <a:ln>
            <a:noFill/>
          </a:ln>
        </p:spPr>
      </p:pic>
    </p:spTree>
    <p:extLst>
      <p:ext uri="{BB962C8B-B14F-4D97-AF65-F5344CB8AC3E}">
        <p14:creationId xmlns:p14="http://schemas.microsoft.com/office/powerpoint/2010/main" val="380696770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Diapositive de titre" preserve="1" userDrawn="1">
  <p:cSld name="Diapositive de titre">
    <p:spTree>
      <p:nvGrpSpPr>
        <p:cNvPr id="1" name="Shape 123"/>
        <p:cNvGrpSpPr/>
        <p:nvPr/>
      </p:nvGrpSpPr>
      <p:grpSpPr>
        <a:xfrm>
          <a:off x="0" y="0"/>
          <a:ext cx="0" cy="0"/>
          <a:chOff x="0" y="0"/>
          <a:chExt cx="0" cy="0"/>
        </a:xfrm>
      </p:grpSpPr>
      <p:sp>
        <p:nvSpPr>
          <p:cNvPr id="2" name="Google Shape;116;p19">
            <a:extLst>
              <a:ext uri="{FF2B5EF4-FFF2-40B4-BE49-F238E27FC236}">
                <a16:creationId xmlns:a16="http://schemas.microsoft.com/office/drawing/2014/main" id="{BE08E938-E8E8-4240-921E-56E1F6554887}"/>
              </a:ext>
            </a:extLst>
          </p:cNvPr>
          <p:cNvSpPr txBox="1">
            <a:spLocks noGrp="1"/>
          </p:cNvSpPr>
          <p:nvPr>
            <p:ph type="title"/>
          </p:nvPr>
        </p:nvSpPr>
        <p:spPr>
          <a:xfrm>
            <a:off x="838199" y="4308871"/>
            <a:ext cx="10515600" cy="1325563"/>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0"/>
              </a:spcBef>
              <a:spcAft>
                <a:spcPts val="0"/>
              </a:spcAft>
              <a:buClr>
                <a:srgbClr val="0D202F"/>
              </a:buClr>
              <a:buSzPts val="8000"/>
              <a:buFont typeface="Arial"/>
              <a:buNone/>
              <a:defRPr sz="7200" b="1" i="0" u="none" strike="noStrike" cap="none">
                <a:solidFill>
                  <a:srgbClr val="0D202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a:t>Thank you</a:t>
            </a:r>
            <a:endParaRPr/>
          </a:p>
        </p:txBody>
      </p:sp>
    </p:spTree>
    <p:extLst>
      <p:ext uri="{BB962C8B-B14F-4D97-AF65-F5344CB8AC3E}">
        <p14:creationId xmlns:p14="http://schemas.microsoft.com/office/powerpoint/2010/main" val="21757203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solidFill>
          <a:schemeClr val="bg1"/>
        </a:solidFill>
        <a:effectLst/>
      </p:bgPr>
    </p:bg>
    <p:spTree>
      <p:nvGrpSpPr>
        <p:cNvPr id="1" name="Shape 95"/>
        <p:cNvGrpSpPr/>
        <p:nvPr/>
      </p:nvGrpSpPr>
      <p:grpSpPr>
        <a:xfrm>
          <a:off x="0" y="0"/>
          <a:ext cx="0" cy="0"/>
          <a:chOff x="0" y="0"/>
          <a:chExt cx="0" cy="0"/>
        </a:xfrm>
      </p:grpSpPr>
      <p:pic>
        <p:nvPicPr>
          <p:cNvPr id="3" name="Picture 2" descr="A picture containing indoor, close&#10;&#10;Description automatically generated">
            <a:extLst>
              <a:ext uri="{FF2B5EF4-FFF2-40B4-BE49-F238E27FC236}">
                <a16:creationId xmlns:a16="http://schemas.microsoft.com/office/drawing/2014/main" id="{80ED1912-BD29-93A8-E0EB-DC26120AE18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1" cy="6857999"/>
          </a:xfrm>
          <a:prstGeom prst="rect">
            <a:avLst/>
          </a:prstGeom>
        </p:spPr>
      </p:pic>
      <p:sp>
        <p:nvSpPr>
          <p:cNvPr id="96" name="Google Shape;96;p32"/>
          <p:cNvSpPr/>
          <p:nvPr/>
        </p:nvSpPr>
        <p:spPr>
          <a:xfrm>
            <a:off x="0" y="0"/>
            <a:ext cx="12192000" cy="6858000"/>
          </a:xfrm>
          <a:prstGeom prst="rect">
            <a:avLst/>
          </a:prstGeom>
          <a:solidFill>
            <a:srgbClr val="0D1F2F">
              <a:alpha val="24775"/>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99" name="Google Shape;99;p32"/>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100" name="Google Shape;100;p32"/>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1015600" y="5757409"/>
            <a:ext cx="1302491" cy="1311729"/>
          </a:xfrm>
          <a:prstGeom prst="rect">
            <a:avLst/>
          </a:prstGeom>
          <a:noFill/>
          <a:ln>
            <a:noFill/>
          </a:ln>
        </p:spPr>
      </p:pic>
    </p:spTree>
    <p:extLst>
      <p:ext uri="{BB962C8B-B14F-4D97-AF65-F5344CB8AC3E}">
        <p14:creationId xmlns:p14="http://schemas.microsoft.com/office/powerpoint/2010/main" val="33882474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99" name="Google Shape;99;p32"/>
          <p:cNvPicPr preferRelativeResize="0"/>
          <p:nvPr/>
        </p:nvPicPr>
        <p:blipFill rotWithShape="1">
          <a:blip r:embed="rId3" cstate="email">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100" name="Google Shape;100;p32"/>
          <p:cNvPicPr preferRelativeResize="0"/>
          <p:nvPr/>
        </p:nvPicPr>
        <p:blipFill rotWithShape="1">
          <a:blip r:embed="rId4" cstate="email">
            <a:alphaModFix amt="85000"/>
            <a:extLst>
              <a:ext uri="{28A0092B-C50C-407E-A947-70E740481C1C}">
                <a14:useLocalDpi xmlns:a14="http://schemas.microsoft.com/office/drawing/2010/main"/>
              </a:ext>
            </a:extLst>
          </a:blip>
          <a:srcRect/>
          <a:stretch/>
        </p:blipFill>
        <p:spPr>
          <a:xfrm>
            <a:off x="11015600" y="5757409"/>
            <a:ext cx="1302491" cy="1311729"/>
          </a:xfrm>
          <a:prstGeom prst="rect">
            <a:avLst/>
          </a:prstGeom>
          <a:noFill/>
          <a:ln>
            <a:noFill/>
          </a:ln>
        </p:spPr>
      </p:pic>
    </p:spTree>
    <p:extLst>
      <p:ext uri="{BB962C8B-B14F-4D97-AF65-F5344CB8AC3E}">
        <p14:creationId xmlns:p14="http://schemas.microsoft.com/office/powerpoint/2010/main" val="12252470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Disposition personnalisée" preserve="1">
  <p:cSld name="1_Disposition personnalisée">
    <p:spTree>
      <p:nvGrpSpPr>
        <p:cNvPr id="1" name="Shape 45"/>
        <p:cNvGrpSpPr/>
        <p:nvPr/>
      </p:nvGrpSpPr>
      <p:grpSpPr>
        <a:xfrm>
          <a:off x="0" y="0"/>
          <a:ext cx="0" cy="0"/>
          <a:chOff x="0" y="0"/>
          <a:chExt cx="0" cy="0"/>
        </a:xfrm>
      </p:grpSpPr>
      <p:pic>
        <p:nvPicPr>
          <p:cNvPr id="12" name="Picture 11" descr="A picture containing weapon, wave, night sky&#10;&#10;Description automatically generated">
            <a:extLst>
              <a:ext uri="{FF2B5EF4-FFF2-40B4-BE49-F238E27FC236}">
                <a16:creationId xmlns:a16="http://schemas.microsoft.com/office/drawing/2014/main" id="{97975025-D9C2-B2FA-99C9-43EEC0F7B34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5433226"/>
          </a:xfrm>
          <a:prstGeom prst="rect">
            <a:avLst/>
          </a:prstGeom>
        </p:spPr>
      </p:pic>
      <p:pic>
        <p:nvPicPr>
          <p:cNvPr id="5" name="Google Shape;60;p15">
            <a:extLst>
              <a:ext uri="{FF2B5EF4-FFF2-40B4-BE49-F238E27FC236}">
                <a16:creationId xmlns:a16="http://schemas.microsoft.com/office/drawing/2014/main" id="{D41B6AFB-0A3B-F27B-1187-7496FBDC5093}"/>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rot="16200000">
            <a:off x="10326342" y="-1253911"/>
            <a:ext cx="2490161" cy="2507821"/>
          </a:xfrm>
          <a:prstGeom prst="rect">
            <a:avLst/>
          </a:prstGeom>
          <a:noFill/>
          <a:ln>
            <a:noFill/>
          </a:ln>
        </p:spPr>
      </p:pic>
      <p:sp>
        <p:nvSpPr>
          <p:cNvPr id="46" name="Google Shape;46;p13"/>
          <p:cNvSpPr txBox="1">
            <a:spLocks noGrp="1"/>
          </p:cNvSpPr>
          <p:nvPr>
            <p:ph type="title"/>
          </p:nvPr>
        </p:nvSpPr>
        <p:spPr>
          <a:xfrm>
            <a:off x="495299" y="536577"/>
            <a:ext cx="11206162"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D202F"/>
              </a:buClr>
              <a:buSzPts val="3500"/>
              <a:buFont typeface="Arial"/>
              <a:buNone/>
              <a:defRPr sz="35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 name="Google Shape;50;p13"/>
          <p:cNvSpPr txBox="1">
            <a:spLocks noGrp="1"/>
          </p:cNvSpPr>
          <p:nvPr>
            <p:ph type="body" idx="1"/>
          </p:nvPr>
        </p:nvSpPr>
        <p:spPr>
          <a:xfrm>
            <a:off x="495299" y="2038601"/>
            <a:ext cx="11206162" cy="418623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18A1AB"/>
              </a:buClr>
              <a:buSzPts val="24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62330596"/>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275">
          <p15:clr>
            <a:srgbClr val="FBAE40"/>
          </p15:clr>
        </p15:guide>
        <p15:guide id="3" orient="horz" pos="3906">
          <p15:clr>
            <a:srgbClr val="FBAE40"/>
          </p15:clr>
        </p15:guide>
        <p15:guide id="4" orient="horz" pos="32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cSld name="Content 3">
    <p:spTree>
      <p:nvGrpSpPr>
        <p:cNvPr id="1" name=""/>
        <p:cNvGrpSpPr/>
        <p:nvPr/>
      </p:nvGrpSpPr>
      <p:grpSpPr>
        <a:xfrm>
          <a:off x="0" y="0"/>
          <a:ext cx="0" cy="0"/>
          <a:chOff x="0" y="0"/>
          <a:chExt cx="0" cy="0"/>
        </a:xfrm>
      </p:grpSpPr>
      <p:sp>
        <p:nvSpPr>
          <p:cNvPr id="86" name="Title Text"/>
          <p:cNvSpPr txBox="1">
            <a:spLocks noGrp="1"/>
          </p:cNvSpPr>
          <p:nvPr>
            <p:ph type="title"/>
          </p:nvPr>
        </p:nvSpPr>
        <p:spPr>
          <a:xfrm>
            <a:off x="495298" y="536576"/>
            <a:ext cx="4559303" cy="1325564"/>
          </a:xfrm>
          <a:prstGeom prst="rect">
            <a:avLst/>
          </a:prstGeom>
        </p:spPr>
        <p:txBody>
          <a:bodyPr/>
          <a:lstStyle/>
          <a:p>
            <a:r>
              <a:t>Title Text</a:t>
            </a:r>
          </a:p>
        </p:txBody>
      </p:sp>
      <p:sp>
        <p:nvSpPr>
          <p:cNvPr id="87" name="Body Level One…"/>
          <p:cNvSpPr txBox="1">
            <a:spLocks noGrp="1"/>
          </p:cNvSpPr>
          <p:nvPr>
            <p:ph type="body" sz="half" idx="1"/>
          </p:nvPr>
        </p:nvSpPr>
        <p:spPr>
          <a:xfrm>
            <a:off x="5689600" y="2038600"/>
            <a:ext cx="6011861" cy="4186239"/>
          </a:xfrm>
          <a:prstGeom prst="rect">
            <a:avLst/>
          </a:prstGeom>
        </p:spPr>
        <p:txBody>
          <a:bodyPr/>
          <a:lstStyle>
            <a:lvl1pPr marL="457200" indent="-381000">
              <a:buClr>
                <a:srgbClr val="18A1AB"/>
              </a:buClr>
              <a:buSzPts val="2400"/>
              <a:buFont typeface="Arial"/>
              <a:buChar char="•"/>
            </a:lvl1pPr>
            <a:lvl2pPr>
              <a:buClr>
                <a:srgbClr val="18A1AB"/>
              </a:buClr>
              <a:buFont typeface="Arial"/>
            </a:lvl2pPr>
            <a:lvl3pPr>
              <a:buClr>
                <a:srgbClr val="18A1AB"/>
              </a:buClr>
              <a:buFont typeface="Arial"/>
            </a:lvl3pPr>
            <a:lvl4pPr>
              <a:buClr>
                <a:srgbClr val="18A1AB"/>
              </a:buClr>
              <a:buFont typeface="Arial"/>
            </a:lvl4pPr>
            <a:lvl5pPr>
              <a:buClr>
                <a:srgbClr val="18A1AB"/>
              </a:buClr>
              <a:buFont typeface="Arial"/>
            </a:lvl5pPr>
          </a:lstStyle>
          <a:p>
            <a:r>
              <a:t>Body Level One</a:t>
            </a:r>
          </a:p>
          <a:p>
            <a:pPr lvl="1"/>
            <a:r>
              <a:t>Body Level Two</a:t>
            </a:r>
          </a:p>
          <a:p>
            <a:pPr lvl="2"/>
            <a:r>
              <a:t>Body Level Three</a:t>
            </a:r>
          </a:p>
          <a:p>
            <a:pPr lvl="3"/>
            <a:r>
              <a:t>Body Level Four</a:t>
            </a:r>
          </a:p>
          <a:p>
            <a:pPr lvl="4"/>
            <a:r>
              <a:t>Body Level Five</a:t>
            </a:r>
          </a:p>
        </p:txBody>
      </p:sp>
      <p:sp>
        <p:nvSpPr>
          <p:cNvPr id="88" name="Google Shape;70;p17"/>
          <p:cNvSpPr txBox="1">
            <a:spLocks noGrp="1"/>
          </p:cNvSpPr>
          <p:nvPr>
            <p:ph type="body" sz="half" idx="21"/>
          </p:nvPr>
        </p:nvSpPr>
        <p:spPr>
          <a:xfrm>
            <a:off x="495298" y="2038600"/>
            <a:ext cx="4559303" cy="4186239"/>
          </a:xfrm>
          <a:prstGeom prst="rect">
            <a:avLst/>
          </a:prstGeom>
        </p:spPr>
        <p:txBody>
          <a:bodyPr/>
          <a:lstStyle/>
          <a:p>
            <a:endParaRPr/>
          </a:p>
        </p:txBody>
      </p:sp>
      <p:sp>
        <p:nvSpPr>
          <p:cNvPr id="90" name="Slide Number"/>
          <p:cNvSpPr txBox="1">
            <a:spLocks noGrp="1"/>
          </p:cNvSpPr>
          <p:nvPr>
            <p:ph type="sldNum" sz="quarter" idx="2"/>
          </p:nvPr>
        </p:nvSpPr>
        <p:spPr>
          <a:prstGeom prst="rect">
            <a:avLst/>
          </a:prstGeom>
        </p:spPr>
        <p:txBody>
          <a:bodyPr/>
          <a:lstStyle/>
          <a:p>
            <a:fld id="{86CB4B4D-7CA3-9044-876B-883B54F8677D}" type="slidenum">
              <a:t>‹#›</a:t>
            </a:fld>
            <a:endParaRPr/>
          </a:p>
        </p:txBody>
      </p:sp>
      <p:grpSp>
        <p:nvGrpSpPr>
          <p:cNvPr id="2" name="Group 1">
            <a:extLst>
              <a:ext uri="{FF2B5EF4-FFF2-40B4-BE49-F238E27FC236}">
                <a16:creationId xmlns:a16="http://schemas.microsoft.com/office/drawing/2014/main" id="{A1A26822-6FAF-9199-0C13-2C1D10F7661A}"/>
              </a:ext>
            </a:extLst>
          </p:cNvPr>
          <p:cNvGrpSpPr/>
          <p:nvPr userDrawn="1"/>
        </p:nvGrpSpPr>
        <p:grpSpPr>
          <a:xfrm>
            <a:off x="10238994" y="-152938"/>
            <a:ext cx="2580510" cy="2004888"/>
            <a:chOff x="10238994" y="-152938"/>
            <a:chExt cx="2580510" cy="2004888"/>
          </a:xfrm>
        </p:grpSpPr>
        <p:pic>
          <p:nvPicPr>
            <p:cNvPr id="3" name="Picture 2" descr="A picture containing weapon, spring, wave&#10;&#10;Description automatically generated">
              <a:extLst>
                <a:ext uri="{FF2B5EF4-FFF2-40B4-BE49-F238E27FC236}">
                  <a16:creationId xmlns:a16="http://schemas.microsoft.com/office/drawing/2014/main" id="{68646CF8-F4D9-7F3B-2577-9BEC675C89C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4" name="Picture 3" descr="Icon&#10;&#10;Description automatically generated">
              <a:extLst>
                <a:ext uri="{FF2B5EF4-FFF2-40B4-BE49-F238E27FC236}">
                  <a16:creationId xmlns:a16="http://schemas.microsoft.com/office/drawing/2014/main" id="{56D2192B-9B9C-C643-D9D4-0583CFDD5553}"/>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295508410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1062997-4BF2-89FC-5930-B0A8FD23692F}"/>
              </a:ext>
            </a:extLst>
          </p:cNvPr>
          <p:cNvSpPr>
            <a:spLocks noGrp="1"/>
          </p:cNvSpPr>
          <p:nvPr>
            <p:ph type="title" hasCustomPrompt="1"/>
          </p:nvPr>
        </p:nvSpPr>
        <p:spPr>
          <a:xfrm>
            <a:off x="609600" y="365125"/>
            <a:ext cx="10972800" cy="731520"/>
          </a:xfrm>
          <a:prstGeom prst="rect">
            <a:avLst/>
          </a:prstGeom>
        </p:spPr>
        <p:txBody>
          <a:bodyPr/>
          <a:lstStyle/>
          <a:p>
            <a:r>
              <a:rPr lang="en-US"/>
              <a:t>Click to edit title</a:t>
            </a:r>
          </a:p>
        </p:txBody>
      </p:sp>
      <p:sp>
        <p:nvSpPr>
          <p:cNvPr id="10" name="Date Placeholder 9">
            <a:extLst>
              <a:ext uri="{FF2B5EF4-FFF2-40B4-BE49-F238E27FC236}">
                <a16:creationId xmlns:a16="http://schemas.microsoft.com/office/drawing/2014/main" id="{1D65421D-E3A4-4852-D953-0A264E694502}"/>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11" name="Footer Placeholder 10">
            <a:extLst>
              <a:ext uri="{FF2B5EF4-FFF2-40B4-BE49-F238E27FC236}">
                <a16:creationId xmlns:a16="http://schemas.microsoft.com/office/drawing/2014/main" id="{31E6FDBE-74F2-F8C9-3408-63C48E4DD8B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12" name="Slide Number Placeholder 11">
            <a:extLst>
              <a:ext uri="{FF2B5EF4-FFF2-40B4-BE49-F238E27FC236}">
                <a16:creationId xmlns:a16="http://schemas.microsoft.com/office/drawing/2014/main" id="{812F1C7B-3B43-EF99-BCBA-287B3D8AFE8B}"/>
              </a:ext>
            </a:extLst>
          </p:cNvPr>
          <p:cNvSpPr>
            <a:spLocks noGrp="1"/>
          </p:cNvSpPr>
          <p:nvPr>
            <p:ph type="sldNum" sz="quarter" idx="12"/>
          </p:nvPr>
        </p:nvSpPr>
        <p:spPr>
          <a:xfrm>
            <a:off x="8610600" y="6356350"/>
            <a:ext cx="2743200" cy="365125"/>
          </a:xfrm>
          <a:prstGeom prst="rect">
            <a:avLst/>
          </a:prstGeom>
        </p:spPr>
        <p:txBody>
          <a:bodyPr/>
          <a:lstStyle/>
          <a:p>
            <a:fld id="{48F63A3B-78C7-47BE-AE5E-E10140E04643}" type="slidenum">
              <a:rPr lang="en-US" smtClean="0"/>
              <a:t>‹#›</a:t>
            </a:fld>
            <a:endParaRPr lang="en-US"/>
          </a:p>
        </p:txBody>
      </p:sp>
      <p:sp>
        <p:nvSpPr>
          <p:cNvPr id="15" name="Content Placeholder 14">
            <a:extLst>
              <a:ext uri="{FF2B5EF4-FFF2-40B4-BE49-F238E27FC236}">
                <a16:creationId xmlns:a16="http://schemas.microsoft.com/office/drawing/2014/main" id="{670D4868-7DEA-5976-3803-0C9FC3434958}"/>
              </a:ext>
            </a:extLst>
          </p:cNvPr>
          <p:cNvSpPr>
            <a:spLocks noGrp="1"/>
          </p:cNvSpPr>
          <p:nvPr>
            <p:ph sz="quarter" idx="13" hasCustomPrompt="1"/>
          </p:nvPr>
        </p:nvSpPr>
        <p:spPr>
          <a:xfrm>
            <a:off x="609601" y="1350963"/>
            <a:ext cx="5212080" cy="4749800"/>
          </a:xfrm>
          <a:prstGeom prst="rect">
            <a:avLst/>
          </a:prstGeo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a:extLst>
              <a:ext uri="{FF2B5EF4-FFF2-40B4-BE49-F238E27FC236}">
                <a16:creationId xmlns:a16="http://schemas.microsoft.com/office/drawing/2014/main" id="{7CF10815-7398-4E9D-9ECB-95EAD077978E}"/>
              </a:ext>
            </a:extLst>
          </p:cNvPr>
          <p:cNvSpPr>
            <a:spLocks noGrp="1"/>
          </p:cNvSpPr>
          <p:nvPr>
            <p:ph sz="quarter" idx="14" hasCustomPrompt="1"/>
          </p:nvPr>
        </p:nvSpPr>
        <p:spPr>
          <a:xfrm>
            <a:off x="6370319" y="1350963"/>
            <a:ext cx="5212080" cy="4749800"/>
          </a:xfrm>
          <a:prstGeom prst="rect">
            <a:avLst/>
          </a:prstGeo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0996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5D2A9B0E-7619-EF13-8A3D-560A13FA6AAF}"/>
              </a:ext>
            </a:extLst>
          </p:cNvPr>
          <p:cNvSpPr>
            <a:spLocks noGrp="1"/>
          </p:cNvSpPr>
          <p:nvPr>
            <p:ph sz="quarter" idx="13" hasCustomPrompt="1"/>
          </p:nvPr>
        </p:nvSpPr>
        <p:spPr>
          <a:xfrm>
            <a:off x="609600" y="1351694"/>
            <a:ext cx="10972800" cy="4749607"/>
          </a:xfrm>
          <a:prstGeom prst="rect">
            <a:avLst/>
          </a:prstGeo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48F63A3B-78C7-47BE-AE5E-E10140E04643}" type="slidenum">
              <a:rPr lang="en-US" dirty="0"/>
              <a:t>‹#›</a:t>
            </a:fld>
            <a:endParaRPr lang="en-US"/>
          </a:p>
        </p:txBody>
      </p:sp>
      <p:sp>
        <p:nvSpPr>
          <p:cNvPr id="11" name="Title 10">
            <a:extLst>
              <a:ext uri="{FF2B5EF4-FFF2-40B4-BE49-F238E27FC236}">
                <a16:creationId xmlns:a16="http://schemas.microsoft.com/office/drawing/2014/main" id="{01AEADF5-C709-353D-8199-ED8985C6ED79}"/>
              </a:ext>
            </a:extLst>
          </p:cNvPr>
          <p:cNvSpPr>
            <a:spLocks noGrp="1"/>
          </p:cNvSpPr>
          <p:nvPr>
            <p:ph type="title" hasCustomPrompt="1"/>
          </p:nvPr>
        </p:nvSpPr>
        <p:spPr>
          <a:xfrm>
            <a:off x="609600" y="365125"/>
            <a:ext cx="10972800" cy="731520"/>
          </a:xfrm>
          <a:prstGeom prst="rect">
            <a:avLst/>
          </a:prstGeom>
        </p:spPr>
        <p:txBody>
          <a:bodyPr/>
          <a:lstStyle/>
          <a:p>
            <a:r>
              <a:rPr lang="en-US"/>
              <a:t>Click to edit title</a:t>
            </a:r>
          </a:p>
        </p:txBody>
      </p:sp>
    </p:spTree>
    <p:extLst>
      <p:ext uri="{BB962C8B-B14F-4D97-AF65-F5344CB8AC3E}">
        <p14:creationId xmlns:p14="http://schemas.microsoft.com/office/powerpoint/2010/main" val="39794487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6" name="Straight Connector 5">
            <a:extLst>
              <a:ext uri="{FF2B5EF4-FFF2-40B4-BE49-F238E27FC236}">
                <a16:creationId xmlns:a16="http://schemas.microsoft.com/office/drawing/2014/main" id="{7949C012-A516-F7A4-42F6-133353606AD2}"/>
              </a:ext>
            </a:extLst>
          </p:cNvPr>
          <p:cNvCxnSpPr>
            <a:cxnSpLocks/>
          </p:cNvCxnSpPr>
          <p:nvPr userDrawn="1"/>
        </p:nvCxnSpPr>
        <p:spPr>
          <a:xfrm>
            <a:off x="620869" y="1521371"/>
            <a:ext cx="432162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564598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Diapositive de titre">
  <p:cSld name="1_Diapositive de titre">
    <p:spTree>
      <p:nvGrpSpPr>
        <p:cNvPr id="1" name="Shape 35"/>
        <p:cNvGrpSpPr/>
        <p:nvPr/>
      </p:nvGrpSpPr>
      <p:grpSpPr>
        <a:xfrm>
          <a:off x="0" y="0"/>
          <a:ext cx="0" cy="0"/>
          <a:chOff x="0" y="0"/>
          <a:chExt cx="0" cy="0"/>
        </a:xfrm>
      </p:grpSpPr>
      <p:sp>
        <p:nvSpPr>
          <p:cNvPr id="39" name="Google Shape;39;p35"/>
          <p:cNvSpPr txBox="1">
            <a:spLocks noGrp="1"/>
          </p:cNvSpPr>
          <p:nvPr>
            <p:ph type="subTitle" idx="1"/>
          </p:nvPr>
        </p:nvSpPr>
        <p:spPr>
          <a:xfrm>
            <a:off x="552450" y="3003324"/>
            <a:ext cx="5989864" cy="1655762"/>
          </a:xfrm>
          <a:prstGeom prst="rect">
            <a:avLst/>
          </a:prstGeom>
          <a:noFill/>
          <a:ln>
            <a:noFill/>
          </a:ln>
        </p:spPr>
        <p:txBody>
          <a:bodyPr spcFirstLastPara="1" wrap="square" lIns="0" tIns="0" rIns="0" bIns="0" anchor="t" anchorCtr="0">
            <a:noAutofit/>
          </a:bodyPr>
          <a:lstStyle>
            <a:lvl1pPr marR="0" lvl="0" algn="l" rtl="0">
              <a:lnSpc>
                <a:spcPct val="90000"/>
              </a:lnSpc>
              <a:spcBef>
                <a:spcPts val="1000"/>
              </a:spcBef>
              <a:spcAft>
                <a:spcPts val="0"/>
              </a:spcAft>
              <a:buClr>
                <a:srgbClr val="18A1AB"/>
              </a:buClr>
              <a:buSzPts val="2700"/>
              <a:buFont typeface="Arial"/>
              <a:buNone/>
              <a:defRPr sz="2700" b="0" i="0" u="none" strike="noStrike" cap="none">
                <a:solidFill>
                  <a:srgbClr val="18A1AB"/>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endParaRPr/>
          </a:p>
        </p:txBody>
      </p:sp>
      <p:sp>
        <p:nvSpPr>
          <p:cNvPr id="40" name="Google Shape;40;p35"/>
          <p:cNvSpPr txBox="1">
            <a:spLocks noGrp="1"/>
          </p:cNvSpPr>
          <p:nvPr>
            <p:ph type="ctrTitle"/>
          </p:nvPr>
        </p:nvSpPr>
        <p:spPr>
          <a:xfrm>
            <a:off x="552450" y="702810"/>
            <a:ext cx="9144000" cy="20520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rgbClr val="0D202F"/>
              </a:buClr>
              <a:buSzPts val="6500"/>
              <a:buFont typeface="Arial"/>
              <a:buNone/>
              <a:defRPr sz="6500" b="1" i="0" u="none" strike="noStrike" cap="none">
                <a:solidFill>
                  <a:srgbClr val="0D202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pic>
        <p:nvPicPr>
          <p:cNvPr id="3" name="Picture 2" descr="A screenshot of a video game&#10;&#10;Description automatically generated with medium confidence">
            <a:extLst>
              <a:ext uri="{FF2B5EF4-FFF2-40B4-BE49-F238E27FC236}">
                <a16:creationId xmlns:a16="http://schemas.microsoft.com/office/drawing/2014/main" id="{8D980F29-2435-49B2-BABF-6CD67D845B4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2450" y="5703005"/>
            <a:ext cx="2434469" cy="720197"/>
          </a:xfrm>
          <a:prstGeom prst="rect">
            <a:avLst/>
          </a:prstGeom>
        </p:spPr>
      </p:pic>
      <p:grpSp>
        <p:nvGrpSpPr>
          <p:cNvPr id="2" name="Group 1">
            <a:extLst>
              <a:ext uri="{FF2B5EF4-FFF2-40B4-BE49-F238E27FC236}">
                <a16:creationId xmlns:a16="http://schemas.microsoft.com/office/drawing/2014/main" id="{33BD10E9-49B1-0BA8-100F-A0FA08BEC597}"/>
              </a:ext>
            </a:extLst>
          </p:cNvPr>
          <p:cNvGrpSpPr/>
          <p:nvPr userDrawn="1"/>
        </p:nvGrpSpPr>
        <p:grpSpPr>
          <a:xfrm>
            <a:off x="8246717" y="2976931"/>
            <a:ext cx="3945284" cy="3881070"/>
            <a:chOff x="8246717" y="2976931"/>
            <a:chExt cx="3945284" cy="3881070"/>
          </a:xfrm>
        </p:grpSpPr>
        <p:pic>
          <p:nvPicPr>
            <p:cNvPr id="4" name="Picture 3" descr="A picture containing wave&#10;&#10;Description automatically generated">
              <a:extLst>
                <a:ext uri="{FF2B5EF4-FFF2-40B4-BE49-F238E27FC236}">
                  <a16:creationId xmlns:a16="http://schemas.microsoft.com/office/drawing/2014/main" id="{4DEFC78A-7415-FA68-E230-7E64BA77FD7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8246717" y="2976931"/>
              <a:ext cx="3945283" cy="3881069"/>
            </a:xfrm>
            <a:prstGeom prst="rect">
              <a:avLst/>
            </a:prstGeom>
          </p:spPr>
        </p:pic>
        <p:pic>
          <p:nvPicPr>
            <p:cNvPr id="5" name="Picture 4">
              <a:extLst>
                <a:ext uri="{FF2B5EF4-FFF2-40B4-BE49-F238E27FC236}">
                  <a16:creationId xmlns:a16="http://schemas.microsoft.com/office/drawing/2014/main" id="{4C88DFAC-1AC5-B1A5-ECEC-4C6DEB1348C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1048065" y="5036717"/>
              <a:ext cx="1143936" cy="1821284"/>
            </a:xfrm>
            <a:prstGeom prst="rect">
              <a:avLst/>
            </a:prstGeom>
          </p:spPr>
        </p:pic>
        <p:pic>
          <p:nvPicPr>
            <p:cNvPr id="6" name="Picture 5" descr="A picture containing round&#10;&#10;Description automatically generated">
              <a:extLst>
                <a:ext uri="{FF2B5EF4-FFF2-40B4-BE49-F238E27FC236}">
                  <a16:creationId xmlns:a16="http://schemas.microsoft.com/office/drawing/2014/main" id="{F5814A1C-63C0-2EA3-452C-AA75CD198DC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1808458" y="4770808"/>
              <a:ext cx="383542" cy="767080"/>
            </a:xfrm>
            <a:prstGeom prst="rect">
              <a:avLst/>
            </a:prstGeom>
          </p:spPr>
        </p:pic>
      </p:grpSp>
    </p:spTree>
    <p:extLst>
      <p:ext uri="{BB962C8B-B14F-4D97-AF65-F5344CB8AC3E}">
        <p14:creationId xmlns:p14="http://schemas.microsoft.com/office/powerpoint/2010/main" val="26348863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p:nvPr>
        </p:nvSpPr>
        <p:spPr>
          <a:xfrm>
            <a:off x="606581" y="521972"/>
            <a:ext cx="10974916" cy="577041"/>
          </a:xfrm>
          <a:prstGeom prst="rect">
            <a:avLst/>
          </a:prstGeom>
        </p:spPr>
        <p:txBody>
          <a:bodyPr lIns="0" tIns="0" rIns="0" bIns="0" anchor="b"/>
          <a:lstStyle>
            <a:lvl1pPr marR="0" algn="l" defTabSz="914400" rtl="0" eaLnBrk="1" latinLnBrk="0" hangingPunct="1">
              <a:lnSpc>
                <a:spcPct val="90000"/>
              </a:lnSpc>
              <a:spcBef>
                <a:spcPct val="0"/>
              </a:spcBef>
              <a:spcAft>
                <a:spcPts val="0"/>
              </a:spcAft>
              <a:buClrTx/>
              <a:buFontTx/>
              <a:buNone/>
              <a:defRPr lang="en-US" sz="3500" b="1" i="0" u="none" strike="noStrike" kern="1200" cap="none" dirty="0">
                <a:solidFill>
                  <a:srgbClr val="0D1F2F"/>
                </a:solidFill>
                <a:latin typeface="Arial" panose="020B0604020202020204" pitchFamily="34" charset="0"/>
                <a:ea typeface="+mj-ea"/>
                <a:cs typeface="Arial" panose="020B0604020202020204" pitchFamily="34" charset="0"/>
                <a:sym typeface="Arial"/>
              </a:defRPr>
            </a:lvl1pPr>
          </a:lstStyle>
          <a:p>
            <a:r>
              <a:rPr lang="en-US"/>
              <a:t>Click to edit Master title style</a:t>
            </a:r>
          </a:p>
        </p:txBody>
      </p:sp>
      <p:cxnSp>
        <p:nvCxnSpPr>
          <p:cNvPr id="11" name="Straight Connector 10">
            <a:extLst>
              <a:ext uri="{FF2B5EF4-FFF2-40B4-BE49-F238E27FC236}">
                <a16:creationId xmlns:a16="http://schemas.microsoft.com/office/drawing/2014/main" id="{C7442DA2-7C72-9A6D-198A-3CBEC4BDB7D0}"/>
              </a:ext>
            </a:extLst>
          </p:cNvPr>
          <p:cNvCxnSpPr/>
          <p:nvPr userDrawn="1"/>
        </p:nvCxnSpPr>
        <p:spPr>
          <a:xfrm>
            <a:off x="620869" y="1208273"/>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83057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Disposition personnalisée">
  <p:cSld name="1_Disposition personnalisée">
    <p:spTree>
      <p:nvGrpSpPr>
        <p:cNvPr id="1" name="Shape 45"/>
        <p:cNvGrpSpPr/>
        <p:nvPr/>
      </p:nvGrpSpPr>
      <p:grpSpPr>
        <a:xfrm>
          <a:off x="0" y="0"/>
          <a:ext cx="0" cy="0"/>
          <a:chOff x="0" y="0"/>
          <a:chExt cx="0" cy="0"/>
        </a:xfrm>
      </p:grpSpPr>
      <p:sp>
        <p:nvSpPr>
          <p:cNvPr id="46" name="Google Shape;46;p13"/>
          <p:cNvSpPr txBox="1">
            <a:spLocks noGrp="1"/>
          </p:cNvSpPr>
          <p:nvPr>
            <p:ph type="title"/>
          </p:nvPr>
        </p:nvSpPr>
        <p:spPr>
          <a:xfrm>
            <a:off x="495299" y="536577"/>
            <a:ext cx="11206162"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D202F"/>
              </a:buClr>
              <a:buSzPts val="3500"/>
              <a:buFont typeface="Arial"/>
              <a:buNone/>
              <a:defRPr sz="35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 name="Google Shape;50;p13"/>
          <p:cNvSpPr txBox="1">
            <a:spLocks noGrp="1"/>
          </p:cNvSpPr>
          <p:nvPr>
            <p:ph type="body" idx="1"/>
          </p:nvPr>
        </p:nvSpPr>
        <p:spPr>
          <a:xfrm>
            <a:off x="495299" y="2038601"/>
            <a:ext cx="11206162" cy="418623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18A1AB"/>
              </a:buClr>
              <a:buSzPts val="24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 name="Group 5">
            <a:extLst>
              <a:ext uri="{FF2B5EF4-FFF2-40B4-BE49-F238E27FC236}">
                <a16:creationId xmlns:a16="http://schemas.microsoft.com/office/drawing/2014/main" id="{0E1CF0C9-568F-2541-5D38-5A5FF5986AE1}"/>
              </a:ext>
            </a:extLst>
          </p:cNvPr>
          <p:cNvGrpSpPr/>
          <p:nvPr userDrawn="1"/>
        </p:nvGrpSpPr>
        <p:grpSpPr>
          <a:xfrm>
            <a:off x="9785418" y="4651885"/>
            <a:ext cx="2406584" cy="2217690"/>
            <a:chOff x="9785418" y="4640310"/>
            <a:chExt cx="2406584" cy="2217690"/>
          </a:xfrm>
        </p:grpSpPr>
        <p:pic>
          <p:nvPicPr>
            <p:cNvPr id="7" name="Picture 6" descr="A picture containing wave, spring, day&#10;&#10;Description automatically generated">
              <a:extLst>
                <a:ext uri="{FF2B5EF4-FFF2-40B4-BE49-F238E27FC236}">
                  <a16:creationId xmlns:a16="http://schemas.microsoft.com/office/drawing/2014/main" id="{FDA574C3-5DE6-B43D-7F65-0896E91D70E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8" name="Picture 7">
              <a:extLst>
                <a:ext uri="{FF2B5EF4-FFF2-40B4-BE49-F238E27FC236}">
                  <a16:creationId xmlns:a16="http://schemas.microsoft.com/office/drawing/2014/main" id="{578E6A7A-4EBB-2C8E-5270-FEAFB5CA62E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0" name="Picture 9" descr="A picture containing round&#10;&#10;Description automatically generated">
              <a:extLst>
                <a:ext uri="{FF2B5EF4-FFF2-40B4-BE49-F238E27FC236}">
                  <a16:creationId xmlns:a16="http://schemas.microsoft.com/office/drawing/2014/main" id="{1840CD53-BB30-A7A1-BA31-AF3B91637E6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4073031239"/>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275">
          <p15:clr>
            <a:srgbClr val="FBAE40"/>
          </p15:clr>
        </p15:guide>
        <p15:guide id="3" orient="horz" pos="3906">
          <p15:clr>
            <a:srgbClr val="FBAE40"/>
          </p15:clr>
        </p15:guide>
        <p15:guide id="4" orient="horz" pos="32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3_Vide">
    <p:spTree>
      <p:nvGrpSpPr>
        <p:cNvPr id="1" name=""/>
        <p:cNvGrpSpPr/>
        <p:nvPr/>
      </p:nvGrpSpPr>
      <p:grpSpPr>
        <a:xfrm>
          <a:off x="0" y="0"/>
          <a:ext cx="0" cy="0"/>
          <a:chOff x="0" y="0"/>
          <a:chExt cx="0" cy="0"/>
        </a:xfrm>
      </p:grpSpPr>
      <p:sp>
        <p:nvSpPr>
          <p:cNvPr id="509" name="Title Text"/>
          <p:cNvSpPr txBox="1">
            <a:spLocks noGrp="1"/>
          </p:cNvSpPr>
          <p:nvPr>
            <p:ph type="title"/>
          </p:nvPr>
        </p:nvSpPr>
        <p:spPr>
          <a:xfrm>
            <a:off x="495298" y="536576"/>
            <a:ext cx="4559303" cy="1325564"/>
          </a:xfrm>
          <a:prstGeom prst="rect">
            <a:avLst/>
          </a:prstGeom>
        </p:spPr>
        <p:txBody>
          <a:bodyPr/>
          <a:lstStyle/>
          <a:p>
            <a:r>
              <a:t>Title Text</a:t>
            </a:r>
          </a:p>
        </p:txBody>
      </p:sp>
      <p:sp>
        <p:nvSpPr>
          <p:cNvPr id="510" name="Body Level One…"/>
          <p:cNvSpPr txBox="1">
            <a:spLocks noGrp="1"/>
          </p:cNvSpPr>
          <p:nvPr>
            <p:ph type="body" sz="half" idx="1"/>
          </p:nvPr>
        </p:nvSpPr>
        <p:spPr>
          <a:xfrm>
            <a:off x="5689600" y="2038600"/>
            <a:ext cx="6011861" cy="4186239"/>
          </a:xfrm>
          <a:prstGeom prst="rect">
            <a:avLst/>
          </a:prstGeom>
        </p:spPr>
        <p:txBody>
          <a:bodyPr/>
          <a:lstStyle>
            <a:lvl1pPr marL="457200" indent="-381000">
              <a:buClr>
                <a:srgbClr val="18A1AB"/>
              </a:buClr>
              <a:buSzPts val="2400"/>
              <a:buFont typeface="Arial"/>
              <a:buChar char="•"/>
            </a:lvl1pPr>
            <a:lvl2pPr>
              <a:buClr>
                <a:srgbClr val="18A1AB"/>
              </a:buClr>
              <a:buFont typeface="Arial"/>
            </a:lvl2pPr>
            <a:lvl3pPr>
              <a:buClr>
                <a:srgbClr val="18A1AB"/>
              </a:buClr>
              <a:buFont typeface="Arial"/>
            </a:lvl3pPr>
            <a:lvl4pPr>
              <a:buClr>
                <a:srgbClr val="18A1AB"/>
              </a:buClr>
              <a:buFont typeface="Arial"/>
            </a:lvl4pPr>
            <a:lvl5pPr>
              <a:buClr>
                <a:srgbClr val="18A1AB"/>
              </a:buClr>
              <a:buFont typeface="Arial"/>
            </a:lvl5pPr>
          </a:lstStyle>
          <a:p>
            <a:r>
              <a:t>Body Level One</a:t>
            </a:r>
          </a:p>
          <a:p>
            <a:pPr lvl="1"/>
            <a:r>
              <a:t>Body Level Two</a:t>
            </a:r>
          </a:p>
          <a:p>
            <a:pPr lvl="2"/>
            <a:r>
              <a:t>Body Level Three</a:t>
            </a:r>
          </a:p>
          <a:p>
            <a:pPr lvl="3"/>
            <a:r>
              <a:t>Body Level Four</a:t>
            </a:r>
          </a:p>
          <a:p>
            <a:pPr lvl="4"/>
            <a:r>
              <a:t>Body Level Five</a:t>
            </a:r>
          </a:p>
        </p:txBody>
      </p:sp>
      <p:sp>
        <p:nvSpPr>
          <p:cNvPr id="511" name="Google Shape;70;p17"/>
          <p:cNvSpPr txBox="1">
            <a:spLocks noGrp="1"/>
          </p:cNvSpPr>
          <p:nvPr>
            <p:ph type="body" sz="half" idx="21"/>
          </p:nvPr>
        </p:nvSpPr>
        <p:spPr>
          <a:xfrm>
            <a:off x="495298" y="2038600"/>
            <a:ext cx="4559303" cy="4186239"/>
          </a:xfrm>
          <a:prstGeom prst="rect">
            <a:avLst/>
          </a:prstGeom>
        </p:spPr>
        <p:txBody>
          <a:bodyPr/>
          <a:lstStyle/>
          <a:p>
            <a:endParaRPr/>
          </a:p>
        </p:txBody>
      </p:sp>
      <p:grpSp>
        <p:nvGrpSpPr>
          <p:cNvPr id="3" name="Group 2">
            <a:extLst>
              <a:ext uri="{FF2B5EF4-FFF2-40B4-BE49-F238E27FC236}">
                <a16:creationId xmlns:a16="http://schemas.microsoft.com/office/drawing/2014/main" id="{6A3DDD78-9083-8F9D-E36C-CFA010E1CAEF}"/>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A179492D-7178-D13B-5F35-49BA4369E7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47AE883F-FC66-AB9D-47A1-66F384CAED79}"/>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2031552948"/>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_Diapositive de titre">
  <p:cSld name="1_Diapositive de titre">
    <p:bg>
      <p:bgPr>
        <a:solidFill>
          <a:srgbClr val="19A1AC"/>
        </a:solidFill>
        <a:effectLst/>
      </p:bgPr>
    </p:bg>
    <p:spTree>
      <p:nvGrpSpPr>
        <p:cNvPr id="1" name="Shape 72"/>
        <p:cNvGrpSpPr/>
        <p:nvPr/>
      </p:nvGrpSpPr>
      <p:grpSpPr>
        <a:xfrm>
          <a:off x="0" y="0"/>
          <a:ext cx="0" cy="0"/>
          <a:chOff x="0" y="0"/>
          <a:chExt cx="0" cy="0"/>
        </a:xfrm>
      </p:grpSpPr>
      <p:sp>
        <p:nvSpPr>
          <p:cNvPr id="73" name="Google Shape;73;p18"/>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 name="Google Shape;74;p18"/>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75" name="Google Shape;75;p18"/>
          <p:cNvPicPr preferRelativeResize="0"/>
          <p:nvPr/>
        </p:nvPicPr>
        <p:blipFill rotWithShape="1">
          <a:blip r:embed="rId2" cstate="print">
            <a:alphaModFix amt="80000"/>
            <a:extLst>
              <a:ext uri="{28A0092B-C50C-407E-A947-70E740481C1C}">
                <a14:useLocalDpi xmlns:a14="http://schemas.microsoft.com/office/drawing/2010/main"/>
              </a:ext>
            </a:extLst>
          </a:blip>
          <a:srcRect t="-12808" b="-12808"/>
          <a:stretch/>
        </p:blipFill>
        <p:spPr>
          <a:xfrm rot="2827792">
            <a:off x="10669130" y="4025263"/>
            <a:ext cx="3045743" cy="3826013"/>
          </a:xfrm>
          <a:prstGeom prst="rect">
            <a:avLst/>
          </a:prstGeom>
          <a:noFill/>
          <a:ln>
            <a:noFill/>
          </a:ln>
        </p:spPr>
      </p:pic>
      <p:pic>
        <p:nvPicPr>
          <p:cNvPr id="76" name="Google Shape;76;p18"/>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34936" y="-58737"/>
            <a:ext cx="1080000" cy="1080000"/>
          </a:xfrm>
          <a:prstGeom prst="rect">
            <a:avLst/>
          </a:prstGeom>
          <a:noFill/>
          <a:ln>
            <a:noFill/>
          </a:ln>
        </p:spPr>
      </p:pic>
    </p:spTree>
    <p:extLst>
      <p:ext uri="{BB962C8B-B14F-4D97-AF65-F5344CB8AC3E}">
        <p14:creationId xmlns:p14="http://schemas.microsoft.com/office/powerpoint/2010/main" val="34403521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Diapositive de titre" type="title">
  <p:cSld name="1_Diapositive de titre">
    <p:bg>
      <p:bgPr>
        <a:solidFill>
          <a:srgbClr val="0D1F2F"/>
        </a:solidFill>
        <a:effectLst/>
      </p:bgPr>
    </p:bg>
    <p:spTree>
      <p:nvGrpSpPr>
        <p:cNvPr id="1" name="Shape 51"/>
        <p:cNvGrpSpPr/>
        <p:nvPr/>
      </p:nvGrpSpPr>
      <p:grpSpPr>
        <a:xfrm>
          <a:off x="0" y="0"/>
          <a:ext cx="0" cy="0"/>
          <a:chOff x="0" y="0"/>
          <a:chExt cx="0" cy="0"/>
        </a:xfrm>
      </p:grpSpPr>
      <p:sp>
        <p:nvSpPr>
          <p:cNvPr id="52" name="Google Shape;52;p14"/>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14"/>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54" name="Google Shape;54;p14"/>
          <p:cNvPicPr preferRelativeResize="0"/>
          <p:nvPr/>
        </p:nvPicPr>
        <p:blipFill rotWithShape="1">
          <a:blip r:embed="rId2" cstate="email">
            <a:alphaModFix amt="80000"/>
            <a:extLst>
              <a:ext uri="{28A0092B-C50C-407E-A947-70E740481C1C}">
                <a14:useLocalDpi xmlns:a14="http://schemas.microsoft.com/office/drawing/2010/main"/>
              </a:ext>
            </a:extLst>
          </a:blip>
          <a:srcRect/>
          <a:stretch/>
        </p:blipFill>
        <p:spPr>
          <a:xfrm rot="5092934">
            <a:off x="9076530" y="-943636"/>
            <a:ext cx="3182937" cy="3182937"/>
          </a:xfrm>
          <a:prstGeom prst="rect">
            <a:avLst/>
          </a:prstGeom>
          <a:noFill/>
          <a:ln>
            <a:noFill/>
          </a:ln>
        </p:spPr>
      </p:pic>
      <p:pic>
        <p:nvPicPr>
          <p:cNvPr id="2" name="Picture 1" descr="Logo&#10;&#10;Description automatically generated">
            <a:extLst>
              <a:ext uri="{FF2B5EF4-FFF2-40B4-BE49-F238E27FC236}">
                <a16:creationId xmlns:a16="http://schemas.microsoft.com/office/drawing/2014/main" id="{A7F12C5B-DD59-B19D-D4D5-DBC258D99A4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149" y="5849440"/>
            <a:ext cx="1080000" cy="1080000"/>
          </a:xfrm>
          <a:prstGeom prst="rect">
            <a:avLst/>
          </a:prstGeom>
        </p:spPr>
      </p:pic>
    </p:spTree>
    <p:extLst>
      <p:ext uri="{BB962C8B-B14F-4D97-AF65-F5344CB8AC3E}">
        <p14:creationId xmlns:p14="http://schemas.microsoft.com/office/powerpoint/2010/main" val="1148769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_Disposition personnalisée">
  <p:cSld name="1_Disposition personnalisée">
    <p:spTree>
      <p:nvGrpSpPr>
        <p:cNvPr id="1" name="Shape 56"/>
        <p:cNvGrpSpPr/>
        <p:nvPr/>
      </p:nvGrpSpPr>
      <p:grpSpPr>
        <a:xfrm>
          <a:off x="0" y="0"/>
          <a:ext cx="0" cy="0"/>
          <a:chOff x="0" y="0"/>
          <a:chExt cx="0" cy="0"/>
        </a:xfrm>
      </p:grpSpPr>
      <p:sp>
        <p:nvSpPr>
          <p:cNvPr id="57" name="Google Shape;57;p15"/>
          <p:cNvSpPr txBox="1">
            <a:spLocks noGrp="1"/>
          </p:cNvSpPr>
          <p:nvPr>
            <p:ph type="title"/>
          </p:nvPr>
        </p:nvSpPr>
        <p:spPr>
          <a:xfrm>
            <a:off x="495299" y="536577"/>
            <a:ext cx="5616743"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D202F"/>
              </a:buClr>
              <a:buSzPts val="3500"/>
              <a:buFont typeface="Arial"/>
              <a:buNone/>
              <a:defRPr sz="35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15"/>
          <p:cNvSpPr txBox="1">
            <a:spLocks noGrp="1"/>
          </p:cNvSpPr>
          <p:nvPr>
            <p:ph type="body" idx="1"/>
          </p:nvPr>
        </p:nvSpPr>
        <p:spPr>
          <a:xfrm>
            <a:off x="3048000" y="2038601"/>
            <a:ext cx="8653461" cy="4186237"/>
          </a:xfrm>
          <a:prstGeom prst="rect">
            <a:avLst/>
          </a:prstGeom>
          <a:noFill/>
          <a:ln>
            <a:noFill/>
          </a:ln>
        </p:spPr>
        <p:txBody>
          <a:bodyPr spcFirstLastPara="1" wrap="square" lIns="91425" tIns="45700" rIns="91425" bIns="45700" anchor="t" anchorCtr="0">
            <a:normAutofit/>
          </a:bodyPr>
          <a:lstStyle>
            <a:lvl1pPr marL="457200" lvl="0" indent="-381000" algn="l">
              <a:lnSpc>
                <a:spcPct val="90000"/>
              </a:lnSpc>
              <a:spcBef>
                <a:spcPts val="1000"/>
              </a:spcBef>
              <a:spcAft>
                <a:spcPts val="0"/>
              </a:spcAft>
              <a:buClr>
                <a:srgbClr val="18A1AB"/>
              </a:buClr>
              <a:buSzPts val="2400"/>
              <a:buFont typeface="Arial"/>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9" name="Google Shape;59;p15"/>
          <p:cNvPicPr preferRelativeResize="0"/>
          <p:nvPr/>
        </p:nvPicPr>
        <p:blipFill rotWithShape="1">
          <a:blip r:embed="rId2" cstate="email">
            <a:extLst>
              <a:ext uri="{28A0092B-C50C-407E-A947-70E740481C1C}">
                <a14:useLocalDpi xmlns:a14="http://schemas.microsoft.com/office/drawing/2010/main"/>
              </a:ext>
            </a:extLst>
          </a:blip>
          <a:srcRect/>
          <a:stretch/>
        </p:blipFill>
        <p:spPr>
          <a:xfrm>
            <a:off x="0" y="5427465"/>
            <a:ext cx="2423299" cy="1430535"/>
          </a:xfrm>
          <a:prstGeom prst="rect">
            <a:avLst/>
          </a:prstGeom>
          <a:noFill/>
          <a:ln>
            <a:noFill/>
          </a:ln>
        </p:spPr>
      </p:pic>
      <p:pic>
        <p:nvPicPr>
          <p:cNvPr id="60" name="Google Shape;60;p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5943601"/>
            <a:ext cx="850777" cy="914400"/>
          </a:xfrm>
          <a:prstGeom prst="rect">
            <a:avLst/>
          </a:prstGeom>
          <a:noFill/>
          <a:ln>
            <a:noFill/>
          </a:ln>
        </p:spPr>
      </p:pic>
    </p:spTree>
    <p:extLst>
      <p:ext uri="{BB962C8B-B14F-4D97-AF65-F5344CB8AC3E}">
        <p14:creationId xmlns:p14="http://schemas.microsoft.com/office/powerpoint/2010/main" val="21745411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pic>
        <p:nvPicPr>
          <p:cNvPr id="2" name="Google Shape;59;p15">
            <a:extLst>
              <a:ext uri="{FF2B5EF4-FFF2-40B4-BE49-F238E27FC236}">
                <a16:creationId xmlns:a16="http://schemas.microsoft.com/office/drawing/2014/main" id="{5539942E-CAAB-B1F1-1452-CCD03219E0BB}"/>
              </a:ext>
            </a:extLst>
          </p:cNvPr>
          <p:cNvPicPr preferRelativeResize="0"/>
          <p:nvPr userDrawn="1"/>
        </p:nvPicPr>
        <p:blipFill rotWithShape="1">
          <a:blip r:embed="rId2" cstate="email">
            <a:extLst>
              <a:ext uri="{28A0092B-C50C-407E-A947-70E740481C1C}">
                <a14:useLocalDpi xmlns:a14="http://schemas.microsoft.com/office/drawing/2010/main"/>
              </a:ext>
            </a:extLst>
          </a:blip>
          <a:srcRect/>
          <a:stretch/>
        </p:blipFill>
        <p:spPr>
          <a:xfrm>
            <a:off x="0" y="5427465"/>
            <a:ext cx="2423299" cy="1430535"/>
          </a:xfrm>
          <a:prstGeom prst="rect">
            <a:avLst/>
          </a:prstGeom>
          <a:noFill/>
          <a:ln>
            <a:noFill/>
          </a:ln>
        </p:spPr>
      </p:pic>
      <p:pic>
        <p:nvPicPr>
          <p:cNvPr id="3" name="Google Shape;60;p15">
            <a:extLst>
              <a:ext uri="{FF2B5EF4-FFF2-40B4-BE49-F238E27FC236}">
                <a16:creationId xmlns:a16="http://schemas.microsoft.com/office/drawing/2014/main" id="{3E56640E-D3B8-89E5-0C1D-09D8DCB90FBA}"/>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a:off x="-285750" y="5943600"/>
            <a:ext cx="1136527" cy="1144587"/>
          </a:xfrm>
          <a:prstGeom prst="rect">
            <a:avLst/>
          </a:prstGeom>
          <a:noFill/>
          <a:ln>
            <a:noFill/>
          </a:ln>
        </p:spPr>
      </p:pic>
      <p:sp>
        <p:nvSpPr>
          <p:cNvPr id="13" name="Title 1">
            <a:extLst>
              <a:ext uri="{FF2B5EF4-FFF2-40B4-BE49-F238E27FC236}">
                <a16:creationId xmlns:a16="http://schemas.microsoft.com/office/drawing/2014/main" id="{CD887305-1AAB-0C3D-E6AB-EF04D0A9DE4F}"/>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sz="3500" b="1"/>
            </a:lvl1pPr>
          </a:lstStyle>
          <a:p>
            <a:r>
              <a:rPr lang="en-US"/>
              <a:t>Click to edit </a:t>
            </a:r>
            <a:br>
              <a:rPr lang="en-US"/>
            </a:br>
            <a:r>
              <a:rPr lang="en-US"/>
              <a:t>Master title style</a:t>
            </a:r>
          </a:p>
        </p:txBody>
      </p:sp>
      <p:cxnSp>
        <p:nvCxnSpPr>
          <p:cNvPr id="14" name="Straight Connector 13">
            <a:extLst>
              <a:ext uri="{FF2B5EF4-FFF2-40B4-BE49-F238E27FC236}">
                <a16:creationId xmlns:a16="http://schemas.microsoft.com/office/drawing/2014/main" id="{8E0820AD-34CD-B158-332D-EDD7AD089EB1}"/>
              </a:ext>
            </a:extLst>
          </p:cNvPr>
          <p:cNvCxnSpPr/>
          <p:nvPr userDrawn="1"/>
        </p:nvCxnSpPr>
        <p:spPr>
          <a:xfrm>
            <a:off x="620869" y="1521371"/>
            <a:ext cx="360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 Placeholder 12">
            <a:extLst>
              <a:ext uri="{FF2B5EF4-FFF2-40B4-BE49-F238E27FC236}">
                <a16:creationId xmlns:a16="http://schemas.microsoft.com/office/drawing/2014/main" id="{B6259859-84EC-3F36-BA42-4E6F5010A53E}"/>
              </a:ext>
            </a:extLst>
          </p:cNvPr>
          <p:cNvSpPr>
            <a:spLocks noGrp="1"/>
          </p:cNvSpPr>
          <p:nvPr>
            <p:ph type="body" sz="quarter" idx="10"/>
          </p:nvPr>
        </p:nvSpPr>
        <p:spPr>
          <a:xfrm>
            <a:off x="620713" y="1852613"/>
            <a:ext cx="10521950" cy="727646"/>
          </a:xfrm>
          <a:prstGeom prst="rect">
            <a:avLst/>
          </a:prstGeom>
        </p:spPr>
        <p:txBody>
          <a:bodyPr lIns="0" tIns="0" rIns="0" bIns="0">
            <a:noAutofit/>
          </a:bodyPr>
          <a:lstStyle>
            <a:lvl1pPr marL="0" indent="0">
              <a:buNone/>
              <a:defRPr sz="2400" b="1">
                <a:solidFill>
                  <a:schemeClr val="accent1"/>
                </a:solidFill>
              </a:defRPr>
            </a:lvl1pPr>
          </a:lstStyle>
          <a:p>
            <a:pPr lvl="0"/>
            <a:r>
              <a:rPr lang="en-GB"/>
              <a:t>Click to edit Master text styles</a:t>
            </a:r>
          </a:p>
        </p:txBody>
      </p:sp>
      <p:sp>
        <p:nvSpPr>
          <p:cNvPr id="16" name="Content Placeholder 15">
            <a:extLst>
              <a:ext uri="{FF2B5EF4-FFF2-40B4-BE49-F238E27FC236}">
                <a16:creationId xmlns:a16="http://schemas.microsoft.com/office/drawing/2014/main" id="{E7A325AD-730D-9E9E-FCC6-182CF5EA43AA}"/>
              </a:ext>
            </a:extLst>
          </p:cNvPr>
          <p:cNvSpPr>
            <a:spLocks noGrp="1"/>
          </p:cNvSpPr>
          <p:nvPr>
            <p:ph sz="quarter" idx="12"/>
          </p:nvPr>
        </p:nvSpPr>
        <p:spPr>
          <a:xfrm>
            <a:off x="606581" y="2911499"/>
            <a:ext cx="10536082" cy="3365309"/>
          </a:xfrm>
          <a:prstGeom prst="rect">
            <a:avLst/>
          </a:prstGeom>
        </p:spPr>
        <p:txBody>
          <a:bodyPr lIns="0" tIns="0" rIns="0" bIns="0"/>
          <a:lstStyle>
            <a:lvl1pPr marL="0" indent="0">
              <a:buNone/>
              <a:defRPr sz="1800">
                <a:solidFill>
                  <a:schemeClr val="tx1"/>
                </a:solidFill>
              </a:defRPr>
            </a:lvl1pPr>
          </a:lstStyle>
          <a:p>
            <a:pPr lvl="0"/>
            <a:r>
              <a:rPr lang="en-GB"/>
              <a:t>Click to edit Master text styles</a:t>
            </a:r>
          </a:p>
        </p:txBody>
      </p:sp>
    </p:spTree>
    <p:extLst>
      <p:ext uri="{BB962C8B-B14F-4D97-AF65-F5344CB8AC3E}">
        <p14:creationId xmlns:p14="http://schemas.microsoft.com/office/powerpoint/2010/main" val="12357655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7" name="Image 2">
            <a:extLst>
              <a:ext uri="{FF2B5EF4-FFF2-40B4-BE49-F238E27FC236}">
                <a16:creationId xmlns:a16="http://schemas.microsoft.com/office/drawing/2014/main" id="{19F2F99F-EF9F-ADFE-AB43-43596AF2DF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75317" y="721551"/>
            <a:ext cx="8055000" cy="5378063"/>
          </a:xfrm>
          <a:prstGeom prst="rect">
            <a:avLst/>
          </a:prstGeom>
        </p:spPr>
      </p:pic>
      <p:pic>
        <p:nvPicPr>
          <p:cNvPr id="8" name="Google Shape;121;p23">
            <a:extLst>
              <a:ext uri="{FF2B5EF4-FFF2-40B4-BE49-F238E27FC236}">
                <a16:creationId xmlns:a16="http://schemas.microsoft.com/office/drawing/2014/main" id="{41FDA795-F98C-7558-6CE8-B175A03AF169}"/>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a:off x="5175924" y="5522443"/>
            <a:ext cx="1840152" cy="412768"/>
          </a:xfrm>
          <a:prstGeom prst="rect">
            <a:avLst/>
          </a:prstGeom>
          <a:noFill/>
          <a:ln>
            <a:noFill/>
          </a:ln>
        </p:spPr>
      </p:pic>
      <p:sp>
        <p:nvSpPr>
          <p:cNvPr id="9" name="Google Shape;122;p23">
            <a:extLst>
              <a:ext uri="{FF2B5EF4-FFF2-40B4-BE49-F238E27FC236}">
                <a16:creationId xmlns:a16="http://schemas.microsoft.com/office/drawing/2014/main" id="{201A7452-1826-BE81-DD45-C01300DDB81C}"/>
              </a:ext>
            </a:extLst>
          </p:cNvPr>
          <p:cNvSpPr txBox="1"/>
          <p:nvPr userDrawn="1"/>
        </p:nvSpPr>
        <p:spPr>
          <a:xfrm>
            <a:off x="4934857" y="6027611"/>
            <a:ext cx="2322286"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fr-FR" sz="1400" b="0" i="0" u="none" strike="noStrike" cap="none">
                <a:solidFill>
                  <a:srgbClr val="000000"/>
                </a:solidFill>
                <a:latin typeface="Arial"/>
                <a:ea typeface="Arial"/>
                <a:cs typeface="Arial"/>
                <a:sym typeface="Arial"/>
              </a:rPr>
              <a:t>www.gardp.org</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2823016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Google Shape;39;p35">
            <a:extLst>
              <a:ext uri="{FF2B5EF4-FFF2-40B4-BE49-F238E27FC236}">
                <a16:creationId xmlns:a16="http://schemas.microsoft.com/office/drawing/2014/main" id="{CDC95EF7-BC99-48DB-7E3A-1F5BE5113E23}"/>
              </a:ext>
            </a:extLst>
          </p:cNvPr>
          <p:cNvSpPr txBox="1">
            <a:spLocks noGrp="1"/>
          </p:cNvSpPr>
          <p:nvPr>
            <p:ph type="subTitle" idx="1"/>
          </p:nvPr>
        </p:nvSpPr>
        <p:spPr>
          <a:xfrm>
            <a:off x="552450" y="3003324"/>
            <a:ext cx="5989864" cy="1655762"/>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18A1AB"/>
              </a:buClr>
              <a:buSzPts val="2700"/>
              <a:buFont typeface="Arial"/>
              <a:buNone/>
              <a:defRPr sz="2700" b="0" i="0" u="none" strike="noStrike" cap="none">
                <a:solidFill>
                  <a:srgbClr val="18A1AB"/>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r>
              <a:rPr lang="en-US"/>
              <a:t>Click to edit Master subtitle style</a:t>
            </a:r>
            <a:endParaRPr/>
          </a:p>
        </p:txBody>
      </p:sp>
      <p:sp>
        <p:nvSpPr>
          <p:cNvPr id="8" name="Google Shape;40;p35">
            <a:extLst>
              <a:ext uri="{FF2B5EF4-FFF2-40B4-BE49-F238E27FC236}">
                <a16:creationId xmlns:a16="http://schemas.microsoft.com/office/drawing/2014/main" id="{7AC2D408-C378-5259-A13C-88493EE6B9C3}"/>
              </a:ext>
            </a:extLst>
          </p:cNvPr>
          <p:cNvSpPr txBox="1">
            <a:spLocks noGrp="1"/>
          </p:cNvSpPr>
          <p:nvPr>
            <p:ph type="ctrTitle"/>
          </p:nvPr>
        </p:nvSpPr>
        <p:spPr>
          <a:xfrm>
            <a:off x="552450" y="702810"/>
            <a:ext cx="9144000" cy="2052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0D202F"/>
              </a:buClr>
              <a:buSzPts val="6500"/>
              <a:buFont typeface="Arial"/>
              <a:buNone/>
              <a:defRPr sz="6500" b="1" i="0" u="none" strike="noStrike" cap="none">
                <a:solidFill>
                  <a:srgbClr val="0D202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a:t>Click to edit Master title style</a:t>
            </a:r>
            <a:endParaRPr dirty="0"/>
          </a:p>
        </p:txBody>
      </p:sp>
      <p:pic>
        <p:nvPicPr>
          <p:cNvPr id="9" name="Google Shape;41;p35">
            <a:extLst>
              <a:ext uri="{FF2B5EF4-FFF2-40B4-BE49-F238E27FC236}">
                <a16:creationId xmlns:a16="http://schemas.microsoft.com/office/drawing/2014/main" id="{8D3C5317-37A8-016F-29A5-DDCC7B4D5A1C}"/>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552451" y="5724667"/>
            <a:ext cx="2419349" cy="713708"/>
          </a:xfrm>
          <a:prstGeom prst="rect">
            <a:avLst/>
          </a:prstGeom>
          <a:noFill/>
          <a:ln>
            <a:noFill/>
          </a:ln>
        </p:spPr>
      </p:pic>
    </p:spTree>
    <p:extLst>
      <p:ext uri="{BB962C8B-B14F-4D97-AF65-F5344CB8AC3E}">
        <p14:creationId xmlns:p14="http://schemas.microsoft.com/office/powerpoint/2010/main" val="7681408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9"/>
            <a:ext cx="2580511"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hasCustomPrompt="1"/>
          </p:nvPr>
        </p:nvSpPr>
        <p:spPr>
          <a:xfrm>
            <a:off x="606582" y="443115"/>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6" name="Straight Connector 5">
            <a:extLst>
              <a:ext uri="{FF2B5EF4-FFF2-40B4-BE49-F238E27FC236}">
                <a16:creationId xmlns:a16="http://schemas.microsoft.com/office/drawing/2014/main" id="{7949C012-A516-F7A4-42F6-133353606AD2}"/>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180855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9"/>
            <a:ext cx="2580511"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p:nvPr>
        </p:nvSpPr>
        <p:spPr>
          <a:xfrm>
            <a:off x="606582" y="521973"/>
            <a:ext cx="10974916" cy="577041"/>
          </a:xfrm>
          <a:prstGeom prst="rect">
            <a:avLst/>
          </a:prstGeom>
        </p:spPr>
        <p:txBody>
          <a:bodyPr lIns="0" tIns="0" rIns="0" bIns="0" anchor="b"/>
          <a:lstStyle>
            <a:lvl1pPr marR="0" algn="l" defTabSz="914377" rtl="0" eaLnBrk="1" latinLnBrk="0" hangingPunct="1">
              <a:lnSpc>
                <a:spcPct val="90000"/>
              </a:lnSpc>
              <a:spcBef>
                <a:spcPct val="0"/>
              </a:spcBef>
              <a:spcAft>
                <a:spcPts val="0"/>
              </a:spcAft>
              <a:buClrTx/>
              <a:buFontTx/>
              <a:buNone/>
              <a:defRPr lang="en-US" sz="3500" b="1" i="0" u="none" strike="noStrike" kern="1200" cap="none" dirty="0">
                <a:solidFill>
                  <a:srgbClr val="0D1F2F"/>
                </a:solidFill>
                <a:latin typeface="Arial" panose="020B0604020202020204" pitchFamily="34" charset="0"/>
                <a:ea typeface="+mj-ea"/>
                <a:cs typeface="Arial" panose="020B0604020202020204" pitchFamily="34" charset="0"/>
                <a:sym typeface="Arial"/>
              </a:defRPr>
            </a:lvl1pPr>
          </a:lstStyle>
          <a:p>
            <a:r>
              <a:rPr lang="en-US"/>
              <a:t>Click to edit Master title style</a:t>
            </a:r>
          </a:p>
        </p:txBody>
      </p:sp>
      <p:cxnSp>
        <p:nvCxnSpPr>
          <p:cNvPr id="11" name="Straight Connector 10">
            <a:extLst>
              <a:ext uri="{FF2B5EF4-FFF2-40B4-BE49-F238E27FC236}">
                <a16:creationId xmlns:a16="http://schemas.microsoft.com/office/drawing/2014/main" id="{C7442DA2-7C72-9A6D-198A-3CBEC4BDB7D0}"/>
              </a:ext>
            </a:extLst>
          </p:cNvPr>
          <p:cNvCxnSpPr/>
          <p:nvPr userDrawn="1"/>
        </p:nvCxnSpPr>
        <p:spPr>
          <a:xfrm>
            <a:off x="620869" y="1208273"/>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195634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336456484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9"/>
            <a:ext cx="2580511"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422439585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9F7FE-BA4B-BE15-F512-9ADF80C98517}"/>
              </a:ext>
            </a:extLst>
          </p:cNvPr>
          <p:cNvSpPr>
            <a:spLocks noGrp="1"/>
          </p:cNvSpPr>
          <p:nvPr>
            <p:ph type="title"/>
          </p:nvPr>
        </p:nvSpPr>
        <p:spPr>
          <a:xfrm>
            <a:off x="606582" y="521973"/>
            <a:ext cx="10974916" cy="577041"/>
          </a:xfrm>
          <a:prstGeom prst="rect">
            <a:avLst/>
          </a:prstGeom>
        </p:spPr>
        <p:txBody>
          <a:bodyPr lIns="0" tIns="0" rIns="0" bIns="0" anchor="b"/>
          <a:lstStyle>
            <a:lvl1pPr marR="0" algn="l" defTabSz="914377" rtl="0" eaLnBrk="1" latinLnBrk="0" hangingPunct="1">
              <a:lnSpc>
                <a:spcPct val="90000"/>
              </a:lnSpc>
              <a:spcBef>
                <a:spcPct val="0"/>
              </a:spcBef>
              <a:spcAft>
                <a:spcPts val="0"/>
              </a:spcAft>
              <a:buClrTx/>
              <a:buFontTx/>
              <a:buNone/>
              <a:defRPr lang="en-US" sz="3500" b="1" i="0" u="none" strike="noStrike" kern="1200" cap="none" dirty="0">
                <a:solidFill>
                  <a:srgbClr val="0D1F2F"/>
                </a:solidFill>
                <a:latin typeface="Arial" panose="020B0604020202020204" pitchFamily="34" charset="0"/>
                <a:ea typeface="+mj-ea"/>
                <a:cs typeface="Arial" panose="020B0604020202020204" pitchFamily="34" charset="0"/>
                <a:sym typeface="Arial"/>
              </a:defRPr>
            </a:lvl1pPr>
          </a:lstStyle>
          <a:p>
            <a:r>
              <a:rPr lang="en-US"/>
              <a:t>Click to edit Master title style</a:t>
            </a:r>
          </a:p>
        </p:txBody>
      </p:sp>
      <p:cxnSp>
        <p:nvCxnSpPr>
          <p:cNvPr id="11" name="Straight Connector 10">
            <a:extLst>
              <a:ext uri="{FF2B5EF4-FFF2-40B4-BE49-F238E27FC236}">
                <a16:creationId xmlns:a16="http://schemas.microsoft.com/office/drawing/2014/main" id="{C7442DA2-7C72-9A6D-198A-3CBEC4BDB7D0}"/>
              </a:ext>
            </a:extLst>
          </p:cNvPr>
          <p:cNvCxnSpPr/>
          <p:nvPr userDrawn="1"/>
        </p:nvCxnSpPr>
        <p:spPr>
          <a:xfrm>
            <a:off x="620869" y="1208273"/>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D72586E-41BA-99B0-A3A9-7F635971612B}"/>
              </a:ext>
            </a:extLst>
          </p:cNvPr>
          <p:cNvGrpSpPr/>
          <p:nvPr userDrawn="1"/>
        </p:nvGrpSpPr>
        <p:grpSpPr>
          <a:xfrm>
            <a:off x="9785419" y="4651885"/>
            <a:ext cx="2406584" cy="2217691"/>
            <a:chOff x="9785418" y="4640310"/>
            <a:chExt cx="2406584" cy="2217690"/>
          </a:xfrm>
        </p:grpSpPr>
        <p:pic>
          <p:nvPicPr>
            <p:cNvPr id="7" name="Picture 6" descr="A picture containing wave, spring, day&#10;&#10;Description automatically generated">
              <a:extLst>
                <a:ext uri="{FF2B5EF4-FFF2-40B4-BE49-F238E27FC236}">
                  <a16:creationId xmlns:a16="http://schemas.microsoft.com/office/drawing/2014/main" id="{C35F0F41-FBCB-947A-81A1-F1BB8FD5E71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8" name="Picture 7">
              <a:extLst>
                <a:ext uri="{FF2B5EF4-FFF2-40B4-BE49-F238E27FC236}">
                  <a16:creationId xmlns:a16="http://schemas.microsoft.com/office/drawing/2014/main" id="{73F85F38-17C1-B56B-8C4F-2CB5A3249B6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9" name="Picture 8" descr="A picture containing round&#10;&#10;Description automatically generated">
              <a:extLst>
                <a:ext uri="{FF2B5EF4-FFF2-40B4-BE49-F238E27FC236}">
                  <a16:creationId xmlns:a16="http://schemas.microsoft.com/office/drawing/2014/main" id="{335D84A3-B047-1D39-E2EC-BB446035093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112652339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019C490-25C0-5979-59A0-A27553D9287A}"/>
              </a:ext>
            </a:extLst>
          </p:cNvPr>
          <p:cNvGrpSpPr/>
          <p:nvPr userDrawn="1"/>
        </p:nvGrpSpPr>
        <p:grpSpPr>
          <a:xfrm>
            <a:off x="9785419" y="4651885"/>
            <a:ext cx="2406584" cy="2217691"/>
            <a:chOff x="9785418" y="4640310"/>
            <a:chExt cx="2406584" cy="2217690"/>
          </a:xfrm>
        </p:grpSpPr>
        <p:pic>
          <p:nvPicPr>
            <p:cNvPr id="11" name="Picture 10" descr="A picture containing wave, spring, day&#10;&#10;Description automatically generated">
              <a:extLst>
                <a:ext uri="{FF2B5EF4-FFF2-40B4-BE49-F238E27FC236}">
                  <a16:creationId xmlns:a16="http://schemas.microsoft.com/office/drawing/2014/main" id="{5D47A909-0FBD-63F3-C477-AFC73FC6E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12" name="Picture 11">
              <a:extLst>
                <a:ext uri="{FF2B5EF4-FFF2-40B4-BE49-F238E27FC236}">
                  <a16:creationId xmlns:a16="http://schemas.microsoft.com/office/drawing/2014/main" id="{9447C8E3-FA06-F3CE-3BD1-13CF506A927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3" name="Picture 12" descr="A picture containing round&#10;&#10;Description automatically generated">
              <a:extLst>
                <a:ext uri="{FF2B5EF4-FFF2-40B4-BE49-F238E27FC236}">
                  <a16:creationId xmlns:a16="http://schemas.microsoft.com/office/drawing/2014/main" id="{C84AE1E8-F4BF-B3B5-3B8F-B33B87C0601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
        <p:nvSpPr>
          <p:cNvPr id="14" name="Title 1">
            <a:extLst>
              <a:ext uri="{FF2B5EF4-FFF2-40B4-BE49-F238E27FC236}">
                <a16:creationId xmlns:a16="http://schemas.microsoft.com/office/drawing/2014/main" id="{B1E275E0-E681-2A32-41BB-F252FD850880}"/>
              </a:ext>
            </a:extLst>
          </p:cNvPr>
          <p:cNvSpPr>
            <a:spLocks noGrp="1"/>
          </p:cNvSpPr>
          <p:nvPr>
            <p:ph type="title" hasCustomPrompt="1"/>
          </p:nvPr>
        </p:nvSpPr>
        <p:spPr>
          <a:xfrm>
            <a:off x="606582" y="443115"/>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15" name="Straight Connector 14">
            <a:extLst>
              <a:ext uri="{FF2B5EF4-FFF2-40B4-BE49-F238E27FC236}">
                <a16:creationId xmlns:a16="http://schemas.microsoft.com/office/drawing/2014/main" id="{8970C0C7-A23E-E396-C4CE-C9FA93E0900D}"/>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90721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019C490-25C0-5979-59A0-A27553D9287A}"/>
              </a:ext>
            </a:extLst>
          </p:cNvPr>
          <p:cNvGrpSpPr/>
          <p:nvPr userDrawn="1"/>
        </p:nvGrpSpPr>
        <p:grpSpPr>
          <a:xfrm>
            <a:off x="9785419" y="4651885"/>
            <a:ext cx="2406584" cy="2217691"/>
            <a:chOff x="9785418" y="4640310"/>
            <a:chExt cx="2406584" cy="2217690"/>
          </a:xfrm>
        </p:grpSpPr>
        <p:pic>
          <p:nvPicPr>
            <p:cNvPr id="11" name="Picture 10" descr="A picture containing wave, spring, day&#10;&#10;Description automatically generated">
              <a:extLst>
                <a:ext uri="{FF2B5EF4-FFF2-40B4-BE49-F238E27FC236}">
                  <a16:creationId xmlns:a16="http://schemas.microsoft.com/office/drawing/2014/main" id="{5D47A909-0FBD-63F3-C477-AFC73FC6E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12" name="Picture 11">
              <a:extLst>
                <a:ext uri="{FF2B5EF4-FFF2-40B4-BE49-F238E27FC236}">
                  <a16:creationId xmlns:a16="http://schemas.microsoft.com/office/drawing/2014/main" id="{9447C8E3-FA06-F3CE-3BD1-13CF506A927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3" name="Picture 12" descr="A picture containing round&#10;&#10;Description automatically generated">
              <a:extLst>
                <a:ext uri="{FF2B5EF4-FFF2-40B4-BE49-F238E27FC236}">
                  <a16:creationId xmlns:a16="http://schemas.microsoft.com/office/drawing/2014/main" id="{C84AE1E8-F4BF-B3B5-3B8F-B33B87C0601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50323589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951792C-24DA-77BE-51D7-DEEEE8A8182E}"/>
              </a:ext>
            </a:extLst>
          </p:cNvPr>
          <p:cNvSpPr>
            <a:spLocks noGrp="1"/>
          </p:cNvSpPr>
          <p:nvPr>
            <p:ph type="title" hasCustomPrompt="1"/>
          </p:nvPr>
        </p:nvSpPr>
        <p:spPr>
          <a:xfrm>
            <a:off x="606582" y="443115"/>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5" name="Straight Connector 4">
            <a:extLst>
              <a:ext uri="{FF2B5EF4-FFF2-40B4-BE49-F238E27FC236}">
                <a16:creationId xmlns:a16="http://schemas.microsoft.com/office/drawing/2014/main" id="{C445DEF7-F798-9D3E-A6BB-1744445F6CCD}"/>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33041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2" name="Picture 1" descr="A screenshot of a video game&#10;&#10;Description automatically generated with medium confidence">
            <a:extLst>
              <a:ext uri="{FF2B5EF4-FFF2-40B4-BE49-F238E27FC236}">
                <a16:creationId xmlns:a16="http://schemas.microsoft.com/office/drawing/2014/main" id="{3EEA8AED-EE9C-4AB0-A780-4F3D637350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2451" y="5703006"/>
            <a:ext cx="2434469" cy="720197"/>
          </a:xfrm>
          <a:prstGeom prst="rect">
            <a:avLst/>
          </a:prstGeom>
        </p:spPr>
      </p:pic>
      <p:grpSp>
        <p:nvGrpSpPr>
          <p:cNvPr id="4" name="Group 3">
            <a:extLst>
              <a:ext uri="{FF2B5EF4-FFF2-40B4-BE49-F238E27FC236}">
                <a16:creationId xmlns:a16="http://schemas.microsoft.com/office/drawing/2014/main" id="{ECE3BD83-B0E1-81D0-33EE-5B5435D382EE}"/>
              </a:ext>
            </a:extLst>
          </p:cNvPr>
          <p:cNvGrpSpPr/>
          <p:nvPr userDrawn="1"/>
        </p:nvGrpSpPr>
        <p:grpSpPr>
          <a:xfrm>
            <a:off x="8246718" y="2976931"/>
            <a:ext cx="3945284" cy="3881071"/>
            <a:chOff x="8246717" y="2976931"/>
            <a:chExt cx="3945284" cy="3881070"/>
          </a:xfrm>
        </p:grpSpPr>
        <p:pic>
          <p:nvPicPr>
            <p:cNvPr id="5" name="Picture 4" descr="A picture containing wave&#10;&#10;Description automatically generated">
              <a:extLst>
                <a:ext uri="{FF2B5EF4-FFF2-40B4-BE49-F238E27FC236}">
                  <a16:creationId xmlns:a16="http://schemas.microsoft.com/office/drawing/2014/main" id="{D71E02BD-969A-F358-79D2-37FA965C4AF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8246717" y="2976931"/>
              <a:ext cx="3945283" cy="3881069"/>
            </a:xfrm>
            <a:prstGeom prst="rect">
              <a:avLst/>
            </a:prstGeom>
          </p:spPr>
        </p:pic>
        <p:pic>
          <p:nvPicPr>
            <p:cNvPr id="6" name="Picture 5">
              <a:extLst>
                <a:ext uri="{FF2B5EF4-FFF2-40B4-BE49-F238E27FC236}">
                  <a16:creationId xmlns:a16="http://schemas.microsoft.com/office/drawing/2014/main" id="{F5D8D2EE-D34C-104E-D7D4-C581C27E43E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1048065" y="5036717"/>
              <a:ext cx="1143936" cy="1821284"/>
            </a:xfrm>
            <a:prstGeom prst="rect">
              <a:avLst/>
            </a:prstGeom>
          </p:spPr>
        </p:pic>
        <p:pic>
          <p:nvPicPr>
            <p:cNvPr id="7" name="Picture 6" descr="A picture containing round&#10;&#10;Description automatically generated">
              <a:extLst>
                <a:ext uri="{FF2B5EF4-FFF2-40B4-BE49-F238E27FC236}">
                  <a16:creationId xmlns:a16="http://schemas.microsoft.com/office/drawing/2014/main" id="{889DECE2-B875-4BBB-FBE4-583B823CBAC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1808458" y="4770808"/>
              <a:ext cx="383542" cy="767080"/>
            </a:xfrm>
            <a:prstGeom prst="rect">
              <a:avLst/>
            </a:prstGeom>
          </p:spPr>
        </p:pic>
      </p:grpSp>
    </p:spTree>
    <p:extLst>
      <p:ext uri="{BB962C8B-B14F-4D97-AF65-F5344CB8AC3E}">
        <p14:creationId xmlns:p14="http://schemas.microsoft.com/office/powerpoint/2010/main" val="341802255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Diapositive de titre">
  <p:cSld name="Diapositive de titre">
    <p:spTree>
      <p:nvGrpSpPr>
        <p:cNvPr id="1" name="Shape 35"/>
        <p:cNvGrpSpPr/>
        <p:nvPr/>
      </p:nvGrpSpPr>
      <p:grpSpPr>
        <a:xfrm>
          <a:off x="0" y="0"/>
          <a:ext cx="0" cy="0"/>
          <a:chOff x="0" y="0"/>
          <a:chExt cx="0" cy="0"/>
        </a:xfrm>
      </p:grpSpPr>
      <p:sp>
        <p:nvSpPr>
          <p:cNvPr id="39" name="Google Shape;39;p35"/>
          <p:cNvSpPr txBox="1">
            <a:spLocks noGrp="1"/>
          </p:cNvSpPr>
          <p:nvPr>
            <p:ph type="subTitle" idx="1"/>
          </p:nvPr>
        </p:nvSpPr>
        <p:spPr>
          <a:xfrm>
            <a:off x="552451" y="3003324"/>
            <a:ext cx="5989864" cy="1655763"/>
          </a:xfrm>
          <a:prstGeom prst="rect">
            <a:avLst/>
          </a:prstGeom>
          <a:noFill/>
          <a:ln>
            <a:noFill/>
          </a:ln>
        </p:spPr>
        <p:txBody>
          <a:bodyPr spcFirstLastPara="1" wrap="square" lIns="0" tIns="0" rIns="0" bIns="0" anchor="t" anchorCtr="0">
            <a:noAutofit/>
          </a:bodyPr>
          <a:lstStyle>
            <a:lvl1pPr marR="0" lvl="0" algn="l" rtl="0">
              <a:lnSpc>
                <a:spcPct val="90000"/>
              </a:lnSpc>
              <a:spcBef>
                <a:spcPts val="1000"/>
              </a:spcBef>
              <a:spcAft>
                <a:spcPts val="0"/>
              </a:spcAft>
              <a:buClr>
                <a:srgbClr val="18A1AB"/>
              </a:buClr>
              <a:buSzPts val="2700"/>
              <a:buFont typeface="Arial"/>
              <a:buNone/>
              <a:defRPr sz="2700" b="0" i="0" u="none" strike="noStrike" cap="none">
                <a:solidFill>
                  <a:srgbClr val="18A1AB"/>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r>
              <a:rPr lang="en-US"/>
              <a:t>Click to edit Master subtitle style</a:t>
            </a:r>
            <a:endParaRPr/>
          </a:p>
        </p:txBody>
      </p:sp>
      <p:sp>
        <p:nvSpPr>
          <p:cNvPr id="40" name="Google Shape;40;p35"/>
          <p:cNvSpPr txBox="1">
            <a:spLocks noGrp="1"/>
          </p:cNvSpPr>
          <p:nvPr>
            <p:ph type="ctrTitle"/>
          </p:nvPr>
        </p:nvSpPr>
        <p:spPr>
          <a:xfrm>
            <a:off x="552451" y="702811"/>
            <a:ext cx="9144000" cy="20520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rgbClr val="0D202F"/>
              </a:buClr>
              <a:buSzPts val="6500"/>
              <a:buFont typeface="Arial"/>
              <a:buNone/>
              <a:defRPr sz="6500" b="1" i="0" u="none" strike="noStrike" cap="none">
                <a:solidFill>
                  <a:srgbClr val="0D202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a:t>Click to edit Master title style</a:t>
            </a:r>
            <a:endParaRPr/>
          </a:p>
        </p:txBody>
      </p:sp>
      <p:pic>
        <p:nvPicPr>
          <p:cNvPr id="3" name="Picture 2" descr="A screenshot of a video game&#10;&#10;Description automatically generated with medium confidence">
            <a:extLst>
              <a:ext uri="{FF2B5EF4-FFF2-40B4-BE49-F238E27FC236}">
                <a16:creationId xmlns:a16="http://schemas.microsoft.com/office/drawing/2014/main" id="{8D980F29-2435-49B2-BABF-6CD67D845B4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2451" y="5703006"/>
            <a:ext cx="2434469" cy="720197"/>
          </a:xfrm>
          <a:prstGeom prst="rect">
            <a:avLst/>
          </a:prstGeom>
        </p:spPr>
      </p:pic>
      <p:grpSp>
        <p:nvGrpSpPr>
          <p:cNvPr id="2" name="Group 1">
            <a:extLst>
              <a:ext uri="{FF2B5EF4-FFF2-40B4-BE49-F238E27FC236}">
                <a16:creationId xmlns:a16="http://schemas.microsoft.com/office/drawing/2014/main" id="{33BD10E9-49B1-0BA8-100F-A0FA08BEC597}"/>
              </a:ext>
            </a:extLst>
          </p:cNvPr>
          <p:cNvGrpSpPr/>
          <p:nvPr userDrawn="1"/>
        </p:nvGrpSpPr>
        <p:grpSpPr>
          <a:xfrm>
            <a:off x="8246718" y="2976931"/>
            <a:ext cx="3945284" cy="3881071"/>
            <a:chOff x="8246717" y="2976931"/>
            <a:chExt cx="3945284" cy="3881070"/>
          </a:xfrm>
        </p:grpSpPr>
        <p:pic>
          <p:nvPicPr>
            <p:cNvPr id="4" name="Picture 3" descr="A picture containing wave&#10;&#10;Description automatically generated">
              <a:extLst>
                <a:ext uri="{FF2B5EF4-FFF2-40B4-BE49-F238E27FC236}">
                  <a16:creationId xmlns:a16="http://schemas.microsoft.com/office/drawing/2014/main" id="{4DEFC78A-7415-FA68-E230-7E64BA77FD7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8246717" y="2976931"/>
              <a:ext cx="3945283" cy="3881069"/>
            </a:xfrm>
            <a:prstGeom prst="rect">
              <a:avLst/>
            </a:prstGeom>
          </p:spPr>
        </p:pic>
        <p:pic>
          <p:nvPicPr>
            <p:cNvPr id="5" name="Picture 4">
              <a:extLst>
                <a:ext uri="{FF2B5EF4-FFF2-40B4-BE49-F238E27FC236}">
                  <a16:creationId xmlns:a16="http://schemas.microsoft.com/office/drawing/2014/main" id="{4C88DFAC-1AC5-B1A5-ECEC-4C6DEB1348C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1048065" y="5036717"/>
              <a:ext cx="1143936" cy="1821284"/>
            </a:xfrm>
            <a:prstGeom prst="rect">
              <a:avLst/>
            </a:prstGeom>
          </p:spPr>
        </p:pic>
        <p:pic>
          <p:nvPicPr>
            <p:cNvPr id="6" name="Picture 5" descr="A picture containing round&#10;&#10;Description automatically generated">
              <a:extLst>
                <a:ext uri="{FF2B5EF4-FFF2-40B4-BE49-F238E27FC236}">
                  <a16:creationId xmlns:a16="http://schemas.microsoft.com/office/drawing/2014/main" id="{F5814A1C-63C0-2EA3-452C-AA75CD198DC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1808458" y="4770808"/>
              <a:ext cx="383542" cy="767080"/>
            </a:xfrm>
            <a:prstGeom prst="rect">
              <a:avLst/>
            </a:prstGeom>
          </p:spPr>
        </p:pic>
      </p:grpSp>
    </p:spTree>
    <p:extLst>
      <p:ext uri="{BB962C8B-B14F-4D97-AF65-F5344CB8AC3E}">
        <p14:creationId xmlns:p14="http://schemas.microsoft.com/office/powerpoint/2010/main" val="2042694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Disposition personnalisée" preserve="1" userDrawn="1">
  <p:cSld name="Disposition personnalisée">
    <p:spTree>
      <p:nvGrpSpPr>
        <p:cNvPr id="1" name="Shape 45"/>
        <p:cNvGrpSpPr/>
        <p:nvPr/>
      </p:nvGrpSpPr>
      <p:grpSpPr>
        <a:xfrm>
          <a:off x="0" y="0"/>
          <a:ext cx="0" cy="0"/>
          <a:chOff x="0" y="0"/>
          <a:chExt cx="0" cy="0"/>
        </a:xfrm>
      </p:grpSpPr>
      <p:pic>
        <p:nvPicPr>
          <p:cNvPr id="5" name="Picture 4" descr="A picture containing wave, spring, day&#10;&#10;Description automatically generated">
            <a:extLst>
              <a:ext uri="{FF2B5EF4-FFF2-40B4-BE49-F238E27FC236}">
                <a16:creationId xmlns:a16="http://schemas.microsoft.com/office/drawing/2014/main" id="{CC73FE67-2EA1-ACD1-AEB3-A2AF0A46CA5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5272497"/>
          </a:xfrm>
          <a:prstGeom prst="rect">
            <a:avLst/>
          </a:prstGeom>
        </p:spPr>
      </p:pic>
      <p:pic>
        <p:nvPicPr>
          <p:cNvPr id="4" name="Picture 3" descr="A picture containing background pattern&#10;&#10;Description automatically generated">
            <a:extLst>
              <a:ext uri="{FF2B5EF4-FFF2-40B4-BE49-F238E27FC236}">
                <a16:creationId xmlns:a16="http://schemas.microsoft.com/office/drawing/2014/main" id="{D607F9D8-2E8D-12B0-6F78-89B6C27C347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68631" y="123323"/>
            <a:ext cx="1019676" cy="1019679"/>
          </a:xfrm>
          <a:prstGeom prst="rect">
            <a:avLst/>
          </a:prstGeom>
        </p:spPr>
      </p:pic>
    </p:spTree>
    <p:extLst>
      <p:ext uri="{BB962C8B-B14F-4D97-AF65-F5344CB8AC3E}">
        <p14:creationId xmlns:p14="http://schemas.microsoft.com/office/powerpoint/2010/main" val="1331328464"/>
      </p:ext>
    </p:extLst>
  </p:cSld>
  <p:clrMapOvr>
    <a:masterClrMapping/>
  </p:clrMapOvr>
  <p:extLst>
    <p:ext uri="{DCECCB84-F9BA-43D5-87BE-67443E8EF086}">
      <p15:sldGuideLst xmlns:p15="http://schemas.microsoft.com/office/powerpoint/2012/main">
        <p15:guide id="3" orient="horz" pos="2930">
          <p15:clr>
            <a:srgbClr val="FBAE40"/>
          </p15:clr>
        </p15:guide>
        <p15:guide id="4" orient="horz" pos="24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Diapositive de titre" preserve="1" userDrawn="1">
  <p:cSld name="1_Diapositive de titre">
    <p:spTree>
      <p:nvGrpSpPr>
        <p:cNvPr id="1" name="Shape 35"/>
        <p:cNvGrpSpPr/>
        <p:nvPr/>
      </p:nvGrpSpPr>
      <p:grpSpPr>
        <a:xfrm>
          <a:off x="0" y="0"/>
          <a:ext cx="0" cy="0"/>
          <a:chOff x="0" y="0"/>
          <a:chExt cx="0" cy="0"/>
        </a:xfrm>
      </p:grpSpPr>
    </p:spTree>
    <p:extLst>
      <p:ext uri="{BB962C8B-B14F-4D97-AF65-F5344CB8AC3E}">
        <p14:creationId xmlns:p14="http://schemas.microsoft.com/office/powerpoint/2010/main" val="10057482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x">
  <p:cSld name="3_Vide">
    <p:spTree>
      <p:nvGrpSpPr>
        <p:cNvPr id="1" name=""/>
        <p:cNvGrpSpPr/>
        <p:nvPr/>
      </p:nvGrpSpPr>
      <p:grpSpPr>
        <a:xfrm>
          <a:off x="0" y="0"/>
          <a:ext cx="0" cy="0"/>
          <a:chOff x="0" y="0"/>
          <a:chExt cx="0" cy="0"/>
        </a:xfrm>
      </p:grpSpPr>
      <p:sp>
        <p:nvSpPr>
          <p:cNvPr id="509" name="Title Text"/>
          <p:cNvSpPr txBox="1">
            <a:spLocks noGrp="1"/>
          </p:cNvSpPr>
          <p:nvPr>
            <p:ph type="title"/>
          </p:nvPr>
        </p:nvSpPr>
        <p:spPr>
          <a:xfrm>
            <a:off x="495299" y="536577"/>
            <a:ext cx="4559303" cy="1325564"/>
          </a:xfrm>
          <a:prstGeom prst="rect">
            <a:avLst/>
          </a:prstGeom>
        </p:spPr>
        <p:txBody>
          <a:bodyPr/>
          <a:lstStyle/>
          <a:p>
            <a:r>
              <a:rPr lang="en-US"/>
              <a:t>Click to edit Master title style</a:t>
            </a:r>
            <a:endParaRPr/>
          </a:p>
        </p:txBody>
      </p:sp>
      <p:sp>
        <p:nvSpPr>
          <p:cNvPr id="510" name="Body Level One…"/>
          <p:cNvSpPr txBox="1">
            <a:spLocks noGrp="1"/>
          </p:cNvSpPr>
          <p:nvPr>
            <p:ph type="body" sz="half" idx="1"/>
          </p:nvPr>
        </p:nvSpPr>
        <p:spPr>
          <a:xfrm>
            <a:off x="5689600" y="2038602"/>
            <a:ext cx="6011861" cy="4186239"/>
          </a:xfrm>
          <a:prstGeom prst="rect">
            <a:avLst/>
          </a:prstGeom>
        </p:spPr>
        <p:txBody>
          <a:bodyPr/>
          <a:lstStyle>
            <a:lvl1pPr marL="457189" indent="-380990">
              <a:buClr>
                <a:srgbClr val="18A1AB"/>
              </a:buClr>
              <a:buSzPts val="2400"/>
              <a:buFont typeface="Arial"/>
              <a:buChar char="•"/>
            </a:lvl1pPr>
            <a:lvl2pPr>
              <a:buClr>
                <a:srgbClr val="18A1AB"/>
              </a:buClr>
              <a:buFont typeface="Arial"/>
            </a:lvl2pPr>
            <a:lvl3pPr>
              <a:buClr>
                <a:srgbClr val="18A1AB"/>
              </a:buClr>
              <a:buFont typeface="Arial"/>
            </a:lvl3pPr>
            <a:lvl4pPr>
              <a:buClr>
                <a:srgbClr val="18A1AB"/>
              </a:buClr>
              <a:buFont typeface="Arial"/>
            </a:lvl4pPr>
            <a:lvl5pPr>
              <a:buClr>
                <a:srgbClr val="18A1AB"/>
              </a:buClr>
              <a:buFont typeface="Arial"/>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11" name="Google Shape;70;p17"/>
          <p:cNvSpPr txBox="1">
            <a:spLocks noGrp="1"/>
          </p:cNvSpPr>
          <p:nvPr>
            <p:ph type="body" sz="half" idx="21"/>
          </p:nvPr>
        </p:nvSpPr>
        <p:spPr>
          <a:xfrm>
            <a:off x="495299" y="2038602"/>
            <a:ext cx="4559303" cy="4186239"/>
          </a:xfrm>
          <a:prstGeom prst="rect">
            <a:avLst/>
          </a:prstGeom>
        </p:spPr>
        <p:txBody>
          <a:bodyPr/>
          <a:lstStyle/>
          <a:p>
            <a:pPr lvl="0"/>
            <a:r>
              <a:rPr lang="en-US"/>
              <a:t>Click to edit Master text styles</a:t>
            </a:r>
          </a:p>
        </p:txBody>
      </p:sp>
      <p:grpSp>
        <p:nvGrpSpPr>
          <p:cNvPr id="3" name="Group 2">
            <a:extLst>
              <a:ext uri="{FF2B5EF4-FFF2-40B4-BE49-F238E27FC236}">
                <a16:creationId xmlns:a16="http://schemas.microsoft.com/office/drawing/2014/main" id="{6A3DDD78-9083-8F9D-E36C-CFA010E1CAEF}"/>
              </a:ext>
            </a:extLst>
          </p:cNvPr>
          <p:cNvGrpSpPr/>
          <p:nvPr userDrawn="1"/>
        </p:nvGrpSpPr>
        <p:grpSpPr>
          <a:xfrm>
            <a:off x="10238994" y="-152939"/>
            <a:ext cx="2580511"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A179492D-7178-D13B-5F35-49BA4369E7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47AE883F-FC66-AB9D-47A1-66F384CAED79}"/>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45440280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9F7FE-BA4B-BE15-F512-9ADF80C98517}"/>
              </a:ext>
            </a:extLst>
          </p:cNvPr>
          <p:cNvSpPr>
            <a:spLocks noGrp="1"/>
          </p:cNvSpPr>
          <p:nvPr>
            <p:ph type="title"/>
          </p:nvPr>
        </p:nvSpPr>
        <p:spPr>
          <a:xfrm>
            <a:off x="606581" y="521972"/>
            <a:ext cx="10974916" cy="577041"/>
          </a:xfrm>
          <a:prstGeom prst="rect">
            <a:avLst/>
          </a:prstGeom>
        </p:spPr>
        <p:txBody>
          <a:bodyPr lIns="0" tIns="0" rIns="0" bIns="0" anchor="b"/>
          <a:lstStyle>
            <a:lvl1pPr marR="0" algn="l" defTabSz="914400" rtl="0" eaLnBrk="1" latinLnBrk="0" hangingPunct="1">
              <a:lnSpc>
                <a:spcPct val="90000"/>
              </a:lnSpc>
              <a:spcBef>
                <a:spcPct val="0"/>
              </a:spcBef>
              <a:spcAft>
                <a:spcPts val="0"/>
              </a:spcAft>
              <a:buClrTx/>
              <a:buFontTx/>
              <a:buNone/>
              <a:defRPr lang="en-US" sz="3500" b="1" i="0" u="none" strike="noStrike" kern="1200" cap="none" dirty="0">
                <a:solidFill>
                  <a:srgbClr val="0D1F2F"/>
                </a:solidFill>
                <a:latin typeface="Arial" panose="020B0604020202020204" pitchFamily="34" charset="0"/>
                <a:ea typeface="+mj-ea"/>
                <a:cs typeface="Arial" panose="020B0604020202020204" pitchFamily="34" charset="0"/>
                <a:sym typeface="Arial"/>
              </a:defRPr>
            </a:lvl1pPr>
          </a:lstStyle>
          <a:p>
            <a:r>
              <a:rPr lang="en-US"/>
              <a:t>Click to edit Master title style</a:t>
            </a:r>
          </a:p>
        </p:txBody>
      </p:sp>
      <p:cxnSp>
        <p:nvCxnSpPr>
          <p:cNvPr id="11" name="Straight Connector 10">
            <a:extLst>
              <a:ext uri="{FF2B5EF4-FFF2-40B4-BE49-F238E27FC236}">
                <a16:creationId xmlns:a16="http://schemas.microsoft.com/office/drawing/2014/main" id="{C7442DA2-7C72-9A6D-198A-3CBEC4BDB7D0}"/>
              </a:ext>
            </a:extLst>
          </p:cNvPr>
          <p:cNvCxnSpPr/>
          <p:nvPr userDrawn="1"/>
        </p:nvCxnSpPr>
        <p:spPr>
          <a:xfrm>
            <a:off x="620869" y="1208273"/>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D72586E-41BA-99B0-A3A9-7F635971612B}"/>
              </a:ext>
            </a:extLst>
          </p:cNvPr>
          <p:cNvGrpSpPr/>
          <p:nvPr userDrawn="1"/>
        </p:nvGrpSpPr>
        <p:grpSpPr>
          <a:xfrm>
            <a:off x="9785418" y="4651885"/>
            <a:ext cx="2406584" cy="2217690"/>
            <a:chOff x="9785418" y="4640310"/>
            <a:chExt cx="2406584" cy="2217690"/>
          </a:xfrm>
        </p:grpSpPr>
        <p:pic>
          <p:nvPicPr>
            <p:cNvPr id="7" name="Picture 6" descr="A picture containing wave, spring, day&#10;&#10;Description automatically generated">
              <a:extLst>
                <a:ext uri="{FF2B5EF4-FFF2-40B4-BE49-F238E27FC236}">
                  <a16:creationId xmlns:a16="http://schemas.microsoft.com/office/drawing/2014/main" id="{C35F0F41-FBCB-947A-81A1-F1BB8FD5E71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8" name="Picture 7">
              <a:extLst>
                <a:ext uri="{FF2B5EF4-FFF2-40B4-BE49-F238E27FC236}">
                  <a16:creationId xmlns:a16="http://schemas.microsoft.com/office/drawing/2014/main" id="{73F85F38-17C1-B56B-8C4F-2CB5A3249B6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9" name="Picture 8" descr="A picture containing round&#10;&#10;Description automatically generated">
              <a:extLst>
                <a:ext uri="{FF2B5EF4-FFF2-40B4-BE49-F238E27FC236}">
                  <a16:creationId xmlns:a16="http://schemas.microsoft.com/office/drawing/2014/main" id="{335D84A3-B047-1D39-E2EC-BB446035093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415206525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2_Diapositive de titre">
  <p:cSld name="2_Diapositive de titre">
    <p:bg>
      <p:bgPr>
        <a:solidFill>
          <a:srgbClr val="0B6377"/>
        </a:solidFill>
        <a:effectLst/>
      </p:bgPr>
    </p:bg>
    <p:spTree>
      <p:nvGrpSpPr>
        <p:cNvPr id="1" name="Shape 61"/>
        <p:cNvGrpSpPr/>
        <p:nvPr/>
      </p:nvGrpSpPr>
      <p:grpSpPr>
        <a:xfrm>
          <a:off x="0" y="0"/>
          <a:ext cx="0" cy="0"/>
          <a:chOff x="0" y="0"/>
          <a:chExt cx="0" cy="0"/>
        </a:xfrm>
      </p:grpSpPr>
      <p:sp>
        <p:nvSpPr>
          <p:cNvPr id="62" name="Google Shape;62;p16"/>
          <p:cNvSpPr txBox="1">
            <a:spLocks noGrp="1"/>
          </p:cNvSpPr>
          <p:nvPr>
            <p:ph type="ctrTitle"/>
          </p:nvPr>
        </p:nvSpPr>
        <p:spPr>
          <a:xfrm>
            <a:off x="1524000" y="1971676"/>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63" name="Google Shape;63;p16"/>
          <p:cNvSpPr txBox="1">
            <a:spLocks noGrp="1"/>
          </p:cNvSpPr>
          <p:nvPr>
            <p:ph type="subTitle" idx="1"/>
          </p:nvPr>
        </p:nvSpPr>
        <p:spPr>
          <a:xfrm>
            <a:off x="1524000" y="4386264"/>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64" name="Google Shape;64;p16"/>
          <p:cNvPicPr preferRelativeResize="0"/>
          <p:nvPr/>
        </p:nvPicPr>
        <p:blipFill rotWithShape="1">
          <a:blip r:embed="rId2" cstate="screen">
            <a:alphaModFix amt="80000"/>
            <a:extLst>
              <a:ext uri="{28A0092B-C50C-407E-A947-70E740481C1C}">
                <a14:useLocalDpi xmlns:a14="http://schemas.microsoft.com/office/drawing/2010/main"/>
              </a:ext>
            </a:extLst>
          </a:blip>
          <a:srcRect/>
          <a:stretch/>
        </p:blipFill>
        <p:spPr>
          <a:xfrm rot="10438165">
            <a:off x="-1061412" y="-1049401"/>
            <a:ext cx="2968631" cy="2968631"/>
          </a:xfrm>
          <a:prstGeom prst="rect">
            <a:avLst/>
          </a:prstGeom>
          <a:noFill/>
          <a:ln>
            <a:noFill/>
          </a:ln>
        </p:spPr>
      </p:pic>
      <p:pic>
        <p:nvPicPr>
          <p:cNvPr id="65" name="Google Shape;65;p16"/>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1301416" y="5915024"/>
            <a:ext cx="1080000" cy="1080000"/>
          </a:xfrm>
          <a:prstGeom prst="rect">
            <a:avLst/>
          </a:prstGeom>
          <a:noFill/>
          <a:ln>
            <a:noFill/>
          </a:ln>
        </p:spPr>
      </p:pic>
    </p:spTree>
    <p:extLst>
      <p:ext uri="{BB962C8B-B14F-4D97-AF65-F5344CB8AC3E}">
        <p14:creationId xmlns:p14="http://schemas.microsoft.com/office/powerpoint/2010/main" val="4481398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Diapositive de titre" type="title">
  <p:cSld name="3_Diapositive de titre">
    <p:bg>
      <p:bgPr>
        <a:solidFill>
          <a:srgbClr val="0D1F2F"/>
        </a:solidFill>
        <a:effectLst/>
      </p:bgPr>
    </p:bg>
    <p:spTree>
      <p:nvGrpSpPr>
        <p:cNvPr id="1" name="Shape 51"/>
        <p:cNvGrpSpPr/>
        <p:nvPr/>
      </p:nvGrpSpPr>
      <p:grpSpPr>
        <a:xfrm>
          <a:off x="0" y="0"/>
          <a:ext cx="0" cy="0"/>
          <a:chOff x="0" y="0"/>
          <a:chExt cx="0" cy="0"/>
        </a:xfrm>
      </p:grpSpPr>
      <p:sp>
        <p:nvSpPr>
          <p:cNvPr id="52" name="Google Shape;52;p14"/>
          <p:cNvSpPr txBox="1">
            <a:spLocks noGrp="1"/>
          </p:cNvSpPr>
          <p:nvPr>
            <p:ph type="ctrTitle"/>
          </p:nvPr>
        </p:nvSpPr>
        <p:spPr>
          <a:xfrm>
            <a:off x="1524000" y="1971676"/>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3" name="Google Shape;53;p14"/>
          <p:cNvSpPr txBox="1">
            <a:spLocks noGrp="1"/>
          </p:cNvSpPr>
          <p:nvPr>
            <p:ph type="subTitle" idx="1"/>
          </p:nvPr>
        </p:nvSpPr>
        <p:spPr>
          <a:xfrm>
            <a:off x="1524000" y="4386264"/>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54" name="Google Shape;54;p14"/>
          <p:cNvPicPr preferRelativeResize="0"/>
          <p:nvPr/>
        </p:nvPicPr>
        <p:blipFill rotWithShape="1">
          <a:blip r:embed="rId2" cstate="email">
            <a:alphaModFix amt="80000"/>
            <a:extLst>
              <a:ext uri="{28A0092B-C50C-407E-A947-70E740481C1C}">
                <a14:useLocalDpi xmlns:a14="http://schemas.microsoft.com/office/drawing/2010/main"/>
              </a:ext>
            </a:extLst>
          </a:blip>
          <a:srcRect/>
          <a:stretch/>
        </p:blipFill>
        <p:spPr>
          <a:xfrm rot="5092934">
            <a:off x="9076532" y="-943635"/>
            <a:ext cx="3182937" cy="3182937"/>
          </a:xfrm>
          <a:prstGeom prst="rect">
            <a:avLst/>
          </a:prstGeom>
          <a:noFill/>
          <a:ln>
            <a:noFill/>
          </a:ln>
        </p:spPr>
      </p:pic>
      <p:pic>
        <p:nvPicPr>
          <p:cNvPr id="2" name="Picture 1" descr="Logo&#10;&#10;Description automatically generated">
            <a:extLst>
              <a:ext uri="{FF2B5EF4-FFF2-40B4-BE49-F238E27FC236}">
                <a16:creationId xmlns:a16="http://schemas.microsoft.com/office/drawing/2014/main" id="{A7F12C5B-DD59-B19D-D4D5-DBC258D99A4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149" y="5849440"/>
            <a:ext cx="1080000" cy="1080000"/>
          </a:xfrm>
          <a:prstGeom prst="rect">
            <a:avLst/>
          </a:prstGeom>
        </p:spPr>
      </p:pic>
    </p:spTree>
    <p:extLst>
      <p:ext uri="{BB962C8B-B14F-4D97-AF65-F5344CB8AC3E}">
        <p14:creationId xmlns:p14="http://schemas.microsoft.com/office/powerpoint/2010/main" val="27144899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8" name="Google Shape;98;p32"/>
          <p:cNvSpPr txBox="1">
            <a:spLocks noGrp="1"/>
          </p:cNvSpPr>
          <p:nvPr>
            <p:ph type="subTitle" idx="1"/>
          </p:nvPr>
        </p:nvSpPr>
        <p:spPr>
          <a:xfrm>
            <a:off x="1524000" y="4386264"/>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99" name="Google Shape;99;p32"/>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10438165">
            <a:off x="-1061412" y="-1049401"/>
            <a:ext cx="2968631" cy="2968631"/>
          </a:xfrm>
          <a:prstGeom prst="rect">
            <a:avLst/>
          </a:prstGeom>
          <a:noFill/>
          <a:ln>
            <a:noFill/>
          </a:ln>
        </p:spPr>
      </p:pic>
      <p:pic>
        <p:nvPicPr>
          <p:cNvPr id="100" name="Google Shape;100;p32"/>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1015601" y="5757410"/>
            <a:ext cx="1302491" cy="1311729"/>
          </a:xfrm>
          <a:prstGeom prst="rect">
            <a:avLst/>
          </a:prstGeom>
          <a:noFill/>
          <a:ln>
            <a:noFill/>
          </a:ln>
        </p:spPr>
      </p:pic>
    </p:spTree>
    <p:extLst>
      <p:ext uri="{BB962C8B-B14F-4D97-AF65-F5344CB8AC3E}">
        <p14:creationId xmlns:p14="http://schemas.microsoft.com/office/powerpoint/2010/main" val="19401519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solidFill>
          <a:schemeClr val="bg1"/>
        </a:solidFill>
        <a:effectLst/>
      </p:bgPr>
    </p:bg>
    <p:spTree>
      <p:nvGrpSpPr>
        <p:cNvPr id="1" name="Shape 95"/>
        <p:cNvGrpSpPr/>
        <p:nvPr/>
      </p:nvGrpSpPr>
      <p:grpSpPr>
        <a:xfrm>
          <a:off x="0" y="0"/>
          <a:ext cx="0" cy="0"/>
          <a:chOff x="0" y="0"/>
          <a:chExt cx="0" cy="0"/>
        </a:xfrm>
      </p:grpSpPr>
      <p:pic>
        <p:nvPicPr>
          <p:cNvPr id="3" name="Picture 2" descr="A picture containing indoor, close&#10;&#10;Description automatically generated">
            <a:extLst>
              <a:ext uri="{FF2B5EF4-FFF2-40B4-BE49-F238E27FC236}">
                <a16:creationId xmlns:a16="http://schemas.microsoft.com/office/drawing/2014/main" id="{80ED1912-BD29-93A8-E0EB-DC26120AE18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12192001" cy="6857999"/>
          </a:xfrm>
          <a:prstGeom prst="rect">
            <a:avLst/>
          </a:prstGeom>
        </p:spPr>
      </p:pic>
      <p:sp>
        <p:nvSpPr>
          <p:cNvPr id="96" name="Google Shape;96;p32"/>
          <p:cNvSpPr/>
          <p:nvPr/>
        </p:nvSpPr>
        <p:spPr>
          <a:xfrm>
            <a:off x="0" y="0"/>
            <a:ext cx="12192000" cy="6858000"/>
          </a:xfrm>
          <a:prstGeom prst="rect">
            <a:avLst/>
          </a:prstGeom>
          <a:solidFill>
            <a:srgbClr val="0D1F2F">
              <a:alpha val="24775"/>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8" name="Google Shape;98;p32"/>
          <p:cNvSpPr txBox="1">
            <a:spLocks noGrp="1"/>
          </p:cNvSpPr>
          <p:nvPr>
            <p:ph type="subTitle" idx="1"/>
          </p:nvPr>
        </p:nvSpPr>
        <p:spPr>
          <a:xfrm>
            <a:off x="1524000" y="4386264"/>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99" name="Google Shape;99;p32"/>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10438165">
            <a:off x="-1061412" y="-1049401"/>
            <a:ext cx="2968631" cy="2968631"/>
          </a:xfrm>
          <a:prstGeom prst="rect">
            <a:avLst/>
          </a:prstGeom>
          <a:noFill/>
          <a:ln>
            <a:noFill/>
          </a:ln>
        </p:spPr>
      </p:pic>
      <p:pic>
        <p:nvPicPr>
          <p:cNvPr id="100" name="Google Shape;100;p32"/>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1015601" y="5757410"/>
            <a:ext cx="1302491" cy="1311729"/>
          </a:xfrm>
          <a:prstGeom prst="rect">
            <a:avLst/>
          </a:prstGeom>
          <a:noFill/>
          <a:ln>
            <a:noFill/>
          </a:ln>
        </p:spPr>
      </p:pic>
    </p:spTree>
    <p:extLst>
      <p:ext uri="{BB962C8B-B14F-4D97-AF65-F5344CB8AC3E}">
        <p14:creationId xmlns:p14="http://schemas.microsoft.com/office/powerpoint/2010/main" val="19994289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8" name="Google Shape;98;p32"/>
          <p:cNvSpPr txBox="1">
            <a:spLocks noGrp="1"/>
          </p:cNvSpPr>
          <p:nvPr>
            <p:ph type="subTitle" idx="1"/>
          </p:nvPr>
        </p:nvSpPr>
        <p:spPr>
          <a:xfrm>
            <a:off x="1524000" y="4386264"/>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99" name="Google Shape;99;p32"/>
          <p:cNvPicPr preferRelativeResize="0"/>
          <p:nvPr/>
        </p:nvPicPr>
        <p:blipFill rotWithShape="1">
          <a:blip r:embed="rId3" cstate="email">
            <a:alphaModFix amt="80000"/>
            <a:extLst>
              <a:ext uri="{28A0092B-C50C-407E-A947-70E740481C1C}">
                <a14:useLocalDpi xmlns:a14="http://schemas.microsoft.com/office/drawing/2010/main"/>
              </a:ext>
            </a:extLst>
          </a:blip>
          <a:srcRect/>
          <a:stretch/>
        </p:blipFill>
        <p:spPr>
          <a:xfrm rot="10438165">
            <a:off x="-1061412" y="-1049401"/>
            <a:ext cx="2968631" cy="2968631"/>
          </a:xfrm>
          <a:prstGeom prst="rect">
            <a:avLst/>
          </a:prstGeom>
          <a:noFill/>
          <a:ln>
            <a:noFill/>
          </a:ln>
        </p:spPr>
      </p:pic>
      <p:pic>
        <p:nvPicPr>
          <p:cNvPr id="100" name="Google Shape;100;p32"/>
          <p:cNvPicPr preferRelativeResize="0"/>
          <p:nvPr/>
        </p:nvPicPr>
        <p:blipFill rotWithShape="1">
          <a:blip r:embed="rId4" cstate="email">
            <a:alphaModFix amt="85000"/>
            <a:extLst>
              <a:ext uri="{28A0092B-C50C-407E-A947-70E740481C1C}">
                <a14:useLocalDpi xmlns:a14="http://schemas.microsoft.com/office/drawing/2010/main"/>
              </a:ext>
            </a:extLst>
          </a:blip>
          <a:srcRect/>
          <a:stretch/>
        </p:blipFill>
        <p:spPr>
          <a:xfrm>
            <a:off x="11015601" y="5757410"/>
            <a:ext cx="1302491" cy="1311729"/>
          </a:xfrm>
          <a:prstGeom prst="rect">
            <a:avLst/>
          </a:prstGeom>
          <a:noFill/>
          <a:ln>
            <a:noFill/>
          </a:ln>
        </p:spPr>
      </p:pic>
    </p:spTree>
    <p:extLst>
      <p:ext uri="{BB962C8B-B14F-4D97-AF65-F5344CB8AC3E}">
        <p14:creationId xmlns:p14="http://schemas.microsoft.com/office/powerpoint/2010/main" val="24436870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Disposition personnalisée" preserve="1">
  <p:cSld name="1_Disposition personnalisée">
    <p:spTree>
      <p:nvGrpSpPr>
        <p:cNvPr id="1" name="Shape 45"/>
        <p:cNvGrpSpPr/>
        <p:nvPr/>
      </p:nvGrpSpPr>
      <p:grpSpPr>
        <a:xfrm>
          <a:off x="0" y="0"/>
          <a:ext cx="0" cy="0"/>
          <a:chOff x="0" y="0"/>
          <a:chExt cx="0" cy="0"/>
        </a:xfrm>
      </p:grpSpPr>
      <p:pic>
        <p:nvPicPr>
          <p:cNvPr id="12" name="Picture 11" descr="A picture containing weapon, wave, night sky&#10;&#10;Description automatically generated">
            <a:extLst>
              <a:ext uri="{FF2B5EF4-FFF2-40B4-BE49-F238E27FC236}">
                <a16:creationId xmlns:a16="http://schemas.microsoft.com/office/drawing/2014/main" id="{97975025-D9C2-B2FA-99C9-43EEC0F7B34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5433227"/>
          </a:xfrm>
          <a:prstGeom prst="rect">
            <a:avLst/>
          </a:prstGeom>
        </p:spPr>
      </p:pic>
      <p:pic>
        <p:nvPicPr>
          <p:cNvPr id="5" name="Google Shape;60;p15">
            <a:extLst>
              <a:ext uri="{FF2B5EF4-FFF2-40B4-BE49-F238E27FC236}">
                <a16:creationId xmlns:a16="http://schemas.microsoft.com/office/drawing/2014/main" id="{D41B6AFB-0A3B-F27B-1187-7496FBDC5093}"/>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rot="16200000">
            <a:off x="10326344" y="-1253911"/>
            <a:ext cx="2490161" cy="2507821"/>
          </a:xfrm>
          <a:prstGeom prst="rect">
            <a:avLst/>
          </a:prstGeom>
          <a:noFill/>
          <a:ln>
            <a:noFill/>
          </a:ln>
        </p:spPr>
      </p:pic>
      <p:sp>
        <p:nvSpPr>
          <p:cNvPr id="46" name="Google Shape;46;p13"/>
          <p:cNvSpPr txBox="1">
            <a:spLocks noGrp="1"/>
          </p:cNvSpPr>
          <p:nvPr>
            <p:ph type="title"/>
          </p:nvPr>
        </p:nvSpPr>
        <p:spPr>
          <a:xfrm>
            <a:off x="495299" y="536577"/>
            <a:ext cx="11206163"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D202F"/>
              </a:buClr>
              <a:buSzPts val="3500"/>
              <a:buFont typeface="Arial"/>
              <a:buNone/>
              <a:defRPr sz="35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0" name="Google Shape;50;p13"/>
          <p:cNvSpPr txBox="1">
            <a:spLocks noGrp="1"/>
          </p:cNvSpPr>
          <p:nvPr>
            <p:ph type="body" idx="1"/>
          </p:nvPr>
        </p:nvSpPr>
        <p:spPr>
          <a:xfrm>
            <a:off x="495299" y="2038602"/>
            <a:ext cx="11206163" cy="4186237"/>
          </a:xfrm>
          <a:prstGeom prst="rect">
            <a:avLst/>
          </a:prstGeom>
          <a:noFill/>
          <a:ln>
            <a:noFill/>
          </a:ln>
        </p:spPr>
        <p:txBody>
          <a:bodyPr spcFirstLastPara="1" wrap="square" lIns="91425" tIns="45700" rIns="91425" bIns="45700" anchor="t" anchorCtr="0">
            <a:normAutofit/>
          </a:bodyPr>
          <a:lstStyle>
            <a:lvl1pPr marL="457189" lvl="0" indent="-228594" algn="l">
              <a:lnSpc>
                <a:spcPct val="90000"/>
              </a:lnSpc>
              <a:spcBef>
                <a:spcPts val="1000"/>
              </a:spcBef>
              <a:spcAft>
                <a:spcPts val="0"/>
              </a:spcAft>
              <a:buClr>
                <a:srgbClr val="18A1AB"/>
              </a:buClr>
              <a:buSzPts val="2400"/>
              <a:buNone/>
              <a:defRPr/>
            </a:lvl1pPr>
            <a:lvl2pPr marL="914377" lvl="1" indent="-342891" algn="l">
              <a:lnSpc>
                <a:spcPct val="90000"/>
              </a:lnSpc>
              <a:spcBef>
                <a:spcPts val="500"/>
              </a:spcBef>
              <a:spcAft>
                <a:spcPts val="0"/>
              </a:spcAft>
              <a:buClr>
                <a:schemeClr val="dk1"/>
              </a:buClr>
              <a:buSzPts val="1800"/>
              <a:buChar char="•"/>
              <a:defRPr/>
            </a:lvl2pPr>
            <a:lvl3pPr marL="1371566" lvl="2" indent="-342891" algn="l">
              <a:lnSpc>
                <a:spcPct val="90000"/>
              </a:lnSpc>
              <a:spcBef>
                <a:spcPts val="500"/>
              </a:spcBef>
              <a:spcAft>
                <a:spcPts val="0"/>
              </a:spcAft>
              <a:buClr>
                <a:schemeClr val="dk1"/>
              </a:buClr>
              <a:buSzPts val="1800"/>
              <a:buChar char="•"/>
              <a:defRPr/>
            </a:lvl3pPr>
            <a:lvl4pPr marL="1828754" lvl="3" indent="-342891" algn="l">
              <a:lnSpc>
                <a:spcPct val="90000"/>
              </a:lnSpc>
              <a:spcBef>
                <a:spcPts val="500"/>
              </a:spcBef>
              <a:spcAft>
                <a:spcPts val="0"/>
              </a:spcAft>
              <a:buClr>
                <a:schemeClr val="dk1"/>
              </a:buClr>
              <a:buSzPts val="1800"/>
              <a:buChar char="•"/>
              <a:defRPr/>
            </a:lvl4pPr>
            <a:lvl5pPr marL="2285943" lvl="4" indent="-342891" algn="l">
              <a:lnSpc>
                <a:spcPct val="90000"/>
              </a:lnSpc>
              <a:spcBef>
                <a:spcPts val="500"/>
              </a:spcBef>
              <a:spcAft>
                <a:spcPts val="0"/>
              </a:spcAft>
              <a:buClr>
                <a:schemeClr val="dk1"/>
              </a:buClr>
              <a:buSzPts val="1800"/>
              <a:buChar char="•"/>
              <a:defRPr/>
            </a:lvl5pPr>
            <a:lvl6pPr marL="2743131" lvl="5" indent="-342891" algn="l">
              <a:lnSpc>
                <a:spcPct val="90000"/>
              </a:lnSpc>
              <a:spcBef>
                <a:spcPts val="5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pPr lvl="0"/>
            <a:r>
              <a:rPr lang="en-US"/>
              <a:t>Click to edit Master text styles</a:t>
            </a:r>
          </a:p>
        </p:txBody>
      </p:sp>
    </p:spTree>
    <p:extLst>
      <p:ext uri="{BB962C8B-B14F-4D97-AF65-F5344CB8AC3E}">
        <p14:creationId xmlns:p14="http://schemas.microsoft.com/office/powerpoint/2010/main" val="783526760"/>
      </p:ext>
    </p:extLst>
  </p:cSld>
  <p:clrMapOvr>
    <a:masterClrMapping/>
  </p:clrMapOvr>
  <p:extLst>
    <p:ext uri="{DCECCB84-F9BA-43D5-87BE-67443E8EF086}">
      <p15:sldGuideLst xmlns:p15="http://schemas.microsoft.com/office/powerpoint/2012/main">
        <p15:guide id="1" orient="horz" pos="889">
          <p15:clr>
            <a:srgbClr val="FBAE40"/>
          </p15:clr>
        </p15:guide>
        <p15:guide id="2" orient="horz" pos="956">
          <p15:clr>
            <a:srgbClr val="FBAE40"/>
          </p15:clr>
        </p15:guide>
        <p15:guide id="3" orient="horz" pos="2930">
          <p15:clr>
            <a:srgbClr val="FBAE40"/>
          </p15:clr>
        </p15:guide>
        <p15:guide id="4" orient="horz" pos="24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x">
  <p:cSld name="Content 3">
    <p:spTree>
      <p:nvGrpSpPr>
        <p:cNvPr id="1" name=""/>
        <p:cNvGrpSpPr/>
        <p:nvPr/>
      </p:nvGrpSpPr>
      <p:grpSpPr>
        <a:xfrm>
          <a:off x="0" y="0"/>
          <a:ext cx="0" cy="0"/>
          <a:chOff x="0" y="0"/>
          <a:chExt cx="0" cy="0"/>
        </a:xfrm>
      </p:grpSpPr>
      <p:sp>
        <p:nvSpPr>
          <p:cNvPr id="86" name="Title Text"/>
          <p:cNvSpPr txBox="1">
            <a:spLocks noGrp="1"/>
          </p:cNvSpPr>
          <p:nvPr>
            <p:ph type="title"/>
          </p:nvPr>
        </p:nvSpPr>
        <p:spPr>
          <a:xfrm>
            <a:off x="495299" y="536577"/>
            <a:ext cx="4559303" cy="1325564"/>
          </a:xfrm>
          <a:prstGeom prst="rect">
            <a:avLst/>
          </a:prstGeom>
        </p:spPr>
        <p:txBody>
          <a:bodyPr/>
          <a:lstStyle/>
          <a:p>
            <a:r>
              <a:rPr lang="en-US"/>
              <a:t>Click to edit Master title style</a:t>
            </a:r>
            <a:endParaRPr/>
          </a:p>
        </p:txBody>
      </p:sp>
      <p:sp>
        <p:nvSpPr>
          <p:cNvPr id="87" name="Body Level One…"/>
          <p:cNvSpPr txBox="1">
            <a:spLocks noGrp="1"/>
          </p:cNvSpPr>
          <p:nvPr>
            <p:ph type="body" sz="half" idx="1"/>
          </p:nvPr>
        </p:nvSpPr>
        <p:spPr>
          <a:xfrm>
            <a:off x="5689600" y="2038602"/>
            <a:ext cx="6011861" cy="4186239"/>
          </a:xfrm>
          <a:prstGeom prst="rect">
            <a:avLst/>
          </a:prstGeom>
        </p:spPr>
        <p:txBody>
          <a:bodyPr/>
          <a:lstStyle>
            <a:lvl1pPr marL="457189" indent="-380990">
              <a:buClr>
                <a:srgbClr val="18A1AB"/>
              </a:buClr>
              <a:buSzPts val="2400"/>
              <a:buFont typeface="Arial"/>
              <a:buChar char="•"/>
            </a:lvl1pPr>
            <a:lvl2pPr>
              <a:buClr>
                <a:srgbClr val="18A1AB"/>
              </a:buClr>
              <a:buFont typeface="Arial"/>
            </a:lvl2pPr>
            <a:lvl3pPr>
              <a:buClr>
                <a:srgbClr val="18A1AB"/>
              </a:buClr>
              <a:buFont typeface="Arial"/>
            </a:lvl3pPr>
            <a:lvl4pPr>
              <a:buClr>
                <a:srgbClr val="18A1AB"/>
              </a:buClr>
              <a:buFont typeface="Arial"/>
            </a:lvl4pPr>
            <a:lvl5pPr>
              <a:buClr>
                <a:srgbClr val="18A1AB"/>
              </a:buClr>
              <a:buFont typeface="Arial"/>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8" name="Google Shape;70;p17"/>
          <p:cNvSpPr txBox="1">
            <a:spLocks noGrp="1"/>
          </p:cNvSpPr>
          <p:nvPr>
            <p:ph type="body" sz="half" idx="21"/>
          </p:nvPr>
        </p:nvSpPr>
        <p:spPr>
          <a:xfrm>
            <a:off x="495299" y="2038602"/>
            <a:ext cx="4559303" cy="4186239"/>
          </a:xfrm>
          <a:prstGeom prst="rect">
            <a:avLst/>
          </a:prstGeom>
        </p:spPr>
        <p:txBody>
          <a:bodyPr/>
          <a:lstStyle/>
          <a:p>
            <a:pPr lvl="0"/>
            <a:r>
              <a:rPr lang="en-US"/>
              <a:t>Click to edit Master text styles</a:t>
            </a:r>
          </a:p>
        </p:txBody>
      </p:sp>
      <p:sp>
        <p:nvSpPr>
          <p:cNvPr id="90" name="Slide Number"/>
          <p:cNvSpPr txBox="1">
            <a:spLocks noGrp="1"/>
          </p:cNvSpPr>
          <p:nvPr>
            <p:ph type="sldNum" sz="quarter" idx="2"/>
          </p:nvPr>
        </p:nvSpPr>
        <p:spPr>
          <a:prstGeom prst="rect">
            <a:avLst/>
          </a:prstGeom>
        </p:spPr>
        <p:txBody>
          <a:bodyPr/>
          <a:lstStyle/>
          <a:p>
            <a:fld id="{86CB4B4D-7CA3-9044-876B-883B54F8677D}" type="slidenum">
              <a:t>‹#›</a:t>
            </a:fld>
            <a:endParaRPr/>
          </a:p>
        </p:txBody>
      </p:sp>
      <p:grpSp>
        <p:nvGrpSpPr>
          <p:cNvPr id="2" name="Group 1">
            <a:extLst>
              <a:ext uri="{FF2B5EF4-FFF2-40B4-BE49-F238E27FC236}">
                <a16:creationId xmlns:a16="http://schemas.microsoft.com/office/drawing/2014/main" id="{A1A26822-6FAF-9199-0C13-2C1D10F7661A}"/>
              </a:ext>
            </a:extLst>
          </p:cNvPr>
          <p:cNvGrpSpPr/>
          <p:nvPr userDrawn="1"/>
        </p:nvGrpSpPr>
        <p:grpSpPr>
          <a:xfrm>
            <a:off x="10238994" y="-152939"/>
            <a:ext cx="2580511" cy="2004888"/>
            <a:chOff x="10238994" y="-152938"/>
            <a:chExt cx="2580510" cy="2004888"/>
          </a:xfrm>
        </p:grpSpPr>
        <p:pic>
          <p:nvPicPr>
            <p:cNvPr id="3" name="Picture 2" descr="A picture containing weapon, spring, wave&#10;&#10;Description automatically generated">
              <a:extLst>
                <a:ext uri="{FF2B5EF4-FFF2-40B4-BE49-F238E27FC236}">
                  <a16:creationId xmlns:a16="http://schemas.microsoft.com/office/drawing/2014/main" id="{68646CF8-F4D9-7F3B-2577-9BEC675C89C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4" name="Picture 3" descr="Icon&#10;&#10;Description automatically generated">
              <a:extLst>
                <a:ext uri="{FF2B5EF4-FFF2-40B4-BE49-F238E27FC236}">
                  <a16:creationId xmlns:a16="http://schemas.microsoft.com/office/drawing/2014/main" id="{56D2192B-9B9C-C643-D9D4-0583CFDD5553}"/>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2114633956"/>
      </p:ext>
    </p:extLst>
  </p:cSld>
  <p:clrMapOvr>
    <a:masterClrMapping/>
  </p:clrMapOvr>
  <p:transition spd="med"/>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6" name="Straight Connector 5">
            <a:extLst>
              <a:ext uri="{FF2B5EF4-FFF2-40B4-BE49-F238E27FC236}">
                <a16:creationId xmlns:a16="http://schemas.microsoft.com/office/drawing/2014/main" id="{7949C012-A516-F7A4-42F6-133353606AD2}"/>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596861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p:nvPr>
        </p:nvSpPr>
        <p:spPr>
          <a:xfrm>
            <a:off x="606581" y="521972"/>
            <a:ext cx="10974916" cy="577041"/>
          </a:xfrm>
          <a:prstGeom prst="rect">
            <a:avLst/>
          </a:prstGeom>
        </p:spPr>
        <p:txBody>
          <a:bodyPr lIns="0" tIns="0" rIns="0" bIns="0" anchor="b"/>
          <a:lstStyle>
            <a:lvl1pPr marR="0" algn="l" defTabSz="914400" rtl="0" eaLnBrk="1" latinLnBrk="0" hangingPunct="1">
              <a:lnSpc>
                <a:spcPct val="90000"/>
              </a:lnSpc>
              <a:spcBef>
                <a:spcPct val="0"/>
              </a:spcBef>
              <a:spcAft>
                <a:spcPts val="0"/>
              </a:spcAft>
              <a:buClrTx/>
              <a:buFontTx/>
              <a:buNone/>
              <a:defRPr lang="en-US" sz="3500" b="1" i="0" u="none" strike="noStrike" kern="1200" cap="none" dirty="0">
                <a:solidFill>
                  <a:srgbClr val="0D1F2F"/>
                </a:solidFill>
                <a:latin typeface="Arial" panose="020B0604020202020204" pitchFamily="34" charset="0"/>
                <a:ea typeface="+mj-ea"/>
                <a:cs typeface="Arial" panose="020B0604020202020204" pitchFamily="34" charset="0"/>
                <a:sym typeface="Arial"/>
              </a:defRPr>
            </a:lvl1pPr>
          </a:lstStyle>
          <a:p>
            <a:r>
              <a:rPr lang="en-US"/>
              <a:t>Click to edit Master title style</a:t>
            </a:r>
          </a:p>
        </p:txBody>
      </p:sp>
      <p:cxnSp>
        <p:nvCxnSpPr>
          <p:cNvPr id="11" name="Straight Connector 10">
            <a:extLst>
              <a:ext uri="{FF2B5EF4-FFF2-40B4-BE49-F238E27FC236}">
                <a16:creationId xmlns:a16="http://schemas.microsoft.com/office/drawing/2014/main" id="{C7442DA2-7C72-9A6D-198A-3CBEC4BDB7D0}"/>
              </a:ext>
            </a:extLst>
          </p:cNvPr>
          <p:cNvCxnSpPr/>
          <p:nvPr userDrawn="1"/>
        </p:nvCxnSpPr>
        <p:spPr>
          <a:xfrm>
            <a:off x="620869" y="1208273"/>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6184645"/>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227294501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019C490-25C0-5979-59A0-A27553D9287A}"/>
              </a:ext>
            </a:extLst>
          </p:cNvPr>
          <p:cNvGrpSpPr/>
          <p:nvPr userDrawn="1"/>
        </p:nvGrpSpPr>
        <p:grpSpPr>
          <a:xfrm>
            <a:off x="9785418" y="4651885"/>
            <a:ext cx="2406584" cy="2217690"/>
            <a:chOff x="9785418" y="4640310"/>
            <a:chExt cx="2406584" cy="2217690"/>
          </a:xfrm>
        </p:grpSpPr>
        <p:pic>
          <p:nvPicPr>
            <p:cNvPr id="11" name="Picture 10" descr="A picture containing wave, spring, day&#10;&#10;Description automatically generated">
              <a:extLst>
                <a:ext uri="{FF2B5EF4-FFF2-40B4-BE49-F238E27FC236}">
                  <a16:creationId xmlns:a16="http://schemas.microsoft.com/office/drawing/2014/main" id="{5D47A909-0FBD-63F3-C477-AFC73FC6E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12" name="Picture 11">
              <a:extLst>
                <a:ext uri="{FF2B5EF4-FFF2-40B4-BE49-F238E27FC236}">
                  <a16:creationId xmlns:a16="http://schemas.microsoft.com/office/drawing/2014/main" id="{9447C8E3-FA06-F3CE-3BD1-13CF506A927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3" name="Picture 12" descr="A picture containing round&#10;&#10;Description automatically generated">
              <a:extLst>
                <a:ext uri="{FF2B5EF4-FFF2-40B4-BE49-F238E27FC236}">
                  <a16:creationId xmlns:a16="http://schemas.microsoft.com/office/drawing/2014/main" id="{C84AE1E8-F4BF-B3B5-3B8F-B33B87C0601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
        <p:nvSpPr>
          <p:cNvPr id="14" name="Title 1">
            <a:extLst>
              <a:ext uri="{FF2B5EF4-FFF2-40B4-BE49-F238E27FC236}">
                <a16:creationId xmlns:a16="http://schemas.microsoft.com/office/drawing/2014/main" id="{B1E275E0-E681-2A32-41BB-F252FD850880}"/>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15" name="Straight Connector 14">
            <a:extLst>
              <a:ext uri="{FF2B5EF4-FFF2-40B4-BE49-F238E27FC236}">
                <a16:creationId xmlns:a16="http://schemas.microsoft.com/office/drawing/2014/main" id="{8970C0C7-A23E-E396-C4CE-C9FA93E0900D}"/>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665620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9F7FE-BA4B-BE15-F512-9ADF80C98517}"/>
              </a:ext>
            </a:extLst>
          </p:cNvPr>
          <p:cNvSpPr>
            <a:spLocks noGrp="1"/>
          </p:cNvSpPr>
          <p:nvPr>
            <p:ph type="title"/>
          </p:nvPr>
        </p:nvSpPr>
        <p:spPr>
          <a:xfrm>
            <a:off x="606581" y="521972"/>
            <a:ext cx="10974916" cy="577041"/>
          </a:xfrm>
          <a:prstGeom prst="rect">
            <a:avLst/>
          </a:prstGeom>
        </p:spPr>
        <p:txBody>
          <a:bodyPr lIns="0" tIns="0" rIns="0" bIns="0" anchor="b"/>
          <a:lstStyle>
            <a:lvl1pPr marR="0" algn="l" defTabSz="914400" rtl="0" eaLnBrk="1" latinLnBrk="0" hangingPunct="1">
              <a:lnSpc>
                <a:spcPct val="90000"/>
              </a:lnSpc>
              <a:spcBef>
                <a:spcPct val="0"/>
              </a:spcBef>
              <a:spcAft>
                <a:spcPts val="0"/>
              </a:spcAft>
              <a:buClrTx/>
              <a:buFontTx/>
              <a:buNone/>
              <a:defRPr lang="en-US" sz="3500" b="1" i="0" u="none" strike="noStrike" kern="1200" cap="none" dirty="0">
                <a:solidFill>
                  <a:srgbClr val="0D1F2F"/>
                </a:solidFill>
                <a:latin typeface="Arial" panose="020B0604020202020204" pitchFamily="34" charset="0"/>
                <a:ea typeface="+mj-ea"/>
                <a:cs typeface="Arial" panose="020B0604020202020204" pitchFamily="34" charset="0"/>
                <a:sym typeface="Arial"/>
              </a:defRPr>
            </a:lvl1pPr>
          </a:lstStyle>
          <a:p>
            <a:r>
              <a:rPr lang="en-US"/>
              <a:t>Click to edit Master title style</a:t>
            </a:r>
          </a:p>
        </p:txBody>
      </p:sp>
      <p:cxnSp>
        <p:nvCxnSpPr>
          <p:cNvPr id="11" name="Straight Connector 10">
            <a:extLst>
              <a:ext uri="{FF2B5EF4-FFF2-40B4-BE49-F238E27FC236}">
                <a16:creationId xmlns:a16="http://schemas.microsoft.com/office/drawing/2014/main" id="{C7442DA2-7C72-9A6D-198A-3CBEC4BDB7D0}"/>
              </a:ext>
            </a:extLst>
          </p:cNvPr>
          <p:cNvCxnSpPr/>
          <p:nvPr userDrawn="1"/>
        </p:nvCxnSpPr>
        <p:spPr>
          <a:xfrm>
            <a:off x="620869" y="1208273"/>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D72586E-41BA-99B0-A3A9-7F635971612B}"/>
              </a:ext>
            </a:extLst>
          </p:cNvPr>
          <p:cNvGrpSpPr/>
          <p:nvPr userDrawn="1"/>
        </p:nvGrpSpPr>
        <p:grpSpPr>
          <a:xfrm>
            <a:off x="9785418" y="4651885"/>
            <a:ext cx="2406584" cy="2217690"/>
            <a:chOff x="9785418" y="4640310"/>
            <a:chExt cx="2406584" cy="2217690"/>
          </a:xfrm>
        </p:grpSpPr>
        <p:pic>
          <p:nvPicPr>
            <p:cNvPr id="7" name="Picture 6" descr="A picture containing wave, spring, day&#10;&#10;Description automatically generated">
              <a:extLst>
                <a:ext uri="{FF2B5EF4-FFF2-40B4-BE49-F238E27FC236}">
                  <a16:creationId xmlns:a16="http://schemas.microsoft.com/office/drawing/2014/main" id="{C35F0F41-FBCB-947A-81A1-F1BB8FD5E71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8" name="Picture 7">
              <a:extLst>
                <a:ext uri="{FF2B5EF4-FFF2-40B4-BE49-F238E27FC236}">
                  <a16:creationId xmlns:a16="http://schemas.microsoft.com/office/drawing/2014/main" id="{73F85F38-17C1-B56B-8C4F-2CB5A3249B6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9" name="Picture 8" descr="A picture containing round&#10;&#10;Description automatically generated">
              <a:extLst>
                <a:ext uri="{FF2B5EF4-FFF2-40B4-BE49-F238E27FC236}">
                  <a16:creationId xmlns:a16="http://schemas.microsoft.com/office/drawing/2014/main" id="{335D84A3-B047-1D39-E2EC-BB446035093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578568987"/>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019C490-25C0-5979-59A0-A27553D9287A}"/>
              </a:ext>
            </a:extLst>
          </p:cNvPr>
          <p:cNvGrpSpPr/>
          <p:nvPr userDrawn="1"/>
        </p:nvGrpSpPr>
        <p:grpSpPr>
          <a:xfrm>
            <a:off x="9785418" y="4651885"/>
            <a:ext cx="2406584" cy="2217690"/>
            <a:chOff x="9785418" y="4640310"/>
            <a:chExt cx="2406584" cy="2217690"/>
          </a:xfrm>
        </p:grpSpPr>
        <p:pic>
          <p:nvPicPr>
            <p:cNvPr id="11" name="Picture 10" descr="A picture containing wave, spring, day&#10;&#10;Description automatically generated">
              <a:extLst>
                <a:ext uri="{FF2B5EF4-FFF2-40B4-BE49-F238E27FC236}">
                  <a16:creationId xmlns:a16="http://schemas.microsoft.com/office/drawing/2014/main" id="{5D47A909-0FBD-63F3-C477-AFC73FC6E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12" name="Picture 11">
              <a:extLst>
                <a:ext uri="{FF2B5EF4-FFF2-40B4-BE49-F238E27FC236}">
                  <a16:creationId xmlns:a16="http://schemas.microsoft.com/office/drawing/2014/main" id="{9447C8E3-FA06-F3CE-3BD1-13CF506A927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3" name="Picture 12" descr="A picture containing round&#10;&#10;Description automatically generated">
              <a:extLst>
                <a:ext uri="{FF2B5EF4-FFF2-40B4-BE49-F238E27FC236}">
                  <a16:creationId xmlns:a16="http://schemas.microsoft.com/office/drawing/2014/main" id="{C84AE1E8-F4BF-B3B5-3B8F-B33B87C0601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
        <p:nvSpPr>
          <p:cNvPr id="14" name="Title 1">
            <a:extLst>
              <a:ext uri="{FF2B5EF4-FFF2-40B4-BE49-F238E27FC236}">
                <a16:creationId xmlns:a16="http://schemas.microsoft.com/office/drawing/2014/main" id="{B1E275E0-E681-2A32-41BB-F252FD850880}"/>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15" name="Straight Connector 14">
            <a:extLst>
              <a:ext uri="{FF2B5EF4-FFF2-40B4-BE49-F238E27FC236}">
                <a16:creationId xmlns:a16="http://schemas.microsoft.com/office/drawing/2014/main" id="{8970C0C7-A23E-E396-C4CE-C9FA93E0900D}"/>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4730858"/>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019C490-25C0-5979-59A0-A27553D9287A}"/>
              </a:ext>
            </a:extLst>
          </p:cNvPr>
          <p:cNvGrpSpPr/>
          <p:nvPr userDrawn="1"/>
        </p:nvGrpSpPr>
        <p:grpSpPr>
          <a:xfrm>
            <a:off x="9785418" y="4651885"/>
            <a:ext cx="2406584" cy="2217690"/>
            <a:chOff x="9785418" y="4640310"/>
            <a:chExt cx="2406584" cy="2217690"/>
          </a:xfrm>
        </p:grpSpPr>
        <p:pic>
          <p:nvPicPr>
            <p:cNvPr id="11" name="Picture 10" descr="A picture containing wave, spring, day&#10;&#10;Description automatically generated">
              <a:extLst>
                <a:ext uri="{FF2B5EF4-FFF2-40B4-BE49-F238E27FC236}">
                  <a16:creationId xmlns:a16="http://schemas.microsoft.com/office/drawing/2014/main" id="{5D47A909-0FBD-63F3-C477-AFC73FC6E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12" name="Picture 11">
              <a:extLst>
                <a:ext uri="{FF2B5EF4-FFF2-40B4-BE49-F238E27FC236}">
                  <a16:creationId xmlns:a16="http://schemas.microsoft.com/office/drawing/2014/main" id="{9447C8E3-FA06-F3CE-3BD1-13CF506A927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3" name="Picture 12" descr="A picture containing round&#10;&#10;Description automatically generated">
              <a:extLst>
                <a:ext uri="{FF2B5EF4-FFF2-40B4-BE49-F238E27FC236}">
                  <a16:creationId xmlns:a16="http://schemas.microsoft.com/office/drawing/2014/main" id="{C84AE1E8-F4BF-B3B5-3B8F-B33B87C0601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291680402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951792C-24DA-77BE-51D7-DEEEE8A8182E}"/>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5" name="Straight Connector 4">
            <a:extLst>
              <a:ext uri="{FF2B5EF4-FFF2-40B4-BE49-F238E27FC236}">
                <a16:creationId xmlns:a16="http://schemas.microsoft.com/office/drawing/2014/main" id="{C445DEF7-F798-9D3E-A6BB-1744445F6CCD}"/>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02400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2" name="Picture 1" descr="A screenshot of a video game&#10;&#10;Description automatically generated with medium confidence">
            <a:extLst>
              <a:ext uri="{FF2B5EF4-FFF2-40B4-BE49-F238E27FC236}">
                <a16:creationId xmlns:a16="http://schemas.microsoft.com/office/drawing/2014/main" id="{3EEA8AED-EE9C-4AB0-A780-4F3D637350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2450" y="5703005"/>
            <a:ext cx="2434469" cy="720197"/>
          </a:xfrm>
          <a:prstGeom prst="rect">
            <a:avLst/>
          </a:prstGeom>
        </p:spPr>
      </p:pic>
      <p:grpSp>
        <p:nvGrpSpPr>
          <p:cNvPr id="4" name="Group 3">
            <a:extLst>
              <a:ext uri="{FF2B5EF4-FFF2-40B4-BE49-F238E27FC236}">
                <a16:creationId xmlns:a16="http://schemas.microsoft.com/office/drawing/2014/main" id="{ECE3BD83-B0E1-81D0-33EE-5B5435D382EE}"/>
              </a:ext>
            </a:extLst>
          </p:cNvPr>
          <p:cNvGrpSpPr/>
          <p:nvPr userDrawn="1"/>
        </p:nvGrpSpPr>
        <p:grpSpPr>
          <a:xfrm>
            <a:off x="8246717" y="2976931"/>
            <a:ext cx="3945284" cy="3881070"/>
            <a:chOff x="8246717" y="2976931"/>
            <a:chExt cx="3945284" cy="3881070"/>
          </a:xfrm>
        </p:grpSpPr>
        <p:pic>
          <p:nvPicPr>
            <p:cNvPr id="5" name="Picture 4" descr="A picture containing wave&#10;&#10;Description automatically generated">
              <a:extLst>
                <a:ext uri="{FF2B5EF4-FFF2-40B4-BE49-F238E27FC236}">
                  <a16:creationId xmlns:a16="http://schemas.microsoft.com/office/drawing/2014/main" id="{D71E02BD-969A-F358-79D2-37FA965C4AF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8246717" y="2976931"/>
              <a:ext cx="3945283" cy="3881069"/>
            </a:xfrm>
            <a:prstGeom prst="rect">
              <a:avLst/>
            </a:prstGeom>
          </p:spPr>
        </p:pic>
        <p:pic>
          <p:nvPicPr>
            <p:cNvPr id="6" name="Picture 5">
              <a:extLst>
                <a:ext uri="{FF2B5EF4-FFF2-40B4-BE49-F238E27FC236}">
                  <a16:creationId xmlns:a16="http://schemas.microsoft.com/office/drawing/2014/main" id="{F5D8D2EE-D34C-104E-D7D4-C581C27E43E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1048065" y="5036717"/>
              <a:ext cx="1143936" cy="1821284"/>
            </a:xfrm>
            <a:prstGeom prst="rect">
              <a:avLst/>
            </a:prstGeom>
          </p:spPr>
        </p:pic>
        <p:pic>
          <p:nvPicPr>
            <p:cNvPr id="7" name="Picture 6" descr="A picture containing round&#10;&#10;Description automatically generated">
              <a:extLst>
                <a:ext uri="{FF2B5EF4-FFF2-40B4-BE49-F238E27FC236}">
                  <a16:creationId xmlns:a16="http://schemas.microsoft.com/office/drawing/2014/main" id="{889DECE2-B875-4BBB-FBE4-583B823CBAC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1808458" y="4770808"/>
              <a:ext cx="383542" cy="767080"/>
            </a:xfrm>
            <a:prstGeom prst="rect">
              <a:avLst/>
            </a:prstGeom>
          </p:spPr>
        </p:pic>
      </p:grpSp>
    </p:spTree>
    <p:extLst>
      <p:ext uri="{BB962C8B-B14F-4D97-AF65-F5344CB8AC3E}">
        <p14:creationId xmlns:p14="http://schemas.microsoft.com/office/powerpoint/2010/main" val="57910037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Diapositive de titre">
  <p:cSld name="Diapositive de titre">
    <p:spTree>
      <p:nvGrpSpPr>
        <p:cNvPr id="1" name="Shape 35"/>
        <p:cNvGrpSpPr/>
        <p:nvPr/>
      </p:nvGrpSpPr>
      <p:grpSpPr>
        <a:xfrm>
          <a:off x="0" y="0"/>
          <a:ext cx="0" cy="0"/>
          <a:chOff x="0" y="0"/>
          <a:chExt cx="0" cy="0"/>
        </a:xfrm>
      </p:grpSpPr>
      <p:sp>
        <p:nvSpPr>
          <p:cNvPr id="39" name="Google Shape;39;p35"/>
          <p:cNvSpPr txBox="1">
            <a:spLocks noGrp="1"/>
          </p:cNvSpPr>
          <p:nvPr>
            <p:ph type="subTitle" idx="1"/>
          </p:nvPr>
        </p:nvSpPr>
        <p:spPr>
          <a:xfrm>
            <a:off x="552450" y="3003324"/>
            <a:ext cx="5989864" cy="1655762"/>
          </a:xfrm>
          <a:prstGeom prst="rect">
            <a:avLst/>
          </a:prstGeom>
          <a:noFill/>
          <a:ln>
            <a:noFill/>
          </a:ln>
        </p:spPr>
        <p:txBody>
          <a:bodyPr spcFirstLastPara="1" wrap="square" lIns="0" tIns="0" rIns="0" bIns="0" anchor="t" anchorCtr="0">
            <a:noAutofit/>
          </a:bodyPr>
          <a:lstStyle>
            <a:lvl1pPr marR="0" lvl="0" algn="l" rtl="0">
              <a:lnSpc>
                <a:spcPct val="90000"/>
              </a:lnSpc>
              <a:spcBef>
                <a:spcPts val="1000"/>
              </a:spcBef>
              <a:spcAft>
                <a:spcPts val="0"/>
              </a:spcAft>
              <a:buClr>
                <a:srgbClr val="18A1AB"/>
              </a:buClr>
              <a:buSzPts val="2700"/>
              <a:buFont typeface="Arial"/>
              <a:buNone/>
              <a:defRPr sz="2700" b="0" i="0" u="none" strike="noStrike" cap="none">
                <a:solidFill>
                  <a:srgbClr val="18A1AB"/>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r>
              <a:rPr lang="en-US"/>
              <a:t>Click to edit Master subtitle style</a:t>
            </a:r>
            <a:endParaRPr/>
          </a:p>
        </p:txBody>
      </p:sp>
      <p:sp>
        <p:nvSpPr>
          <p:cNvPr id="40" name="Google Shape;40;p35"/>
          <p:cNvSpPr txBox="1">
            <a:spLocks noGrp="1"/>
          </p:cNvSpPr>
          <p:nvPr>
            <p:ph type="ctrTitle"/>
          </p:nvPr>
        </p:nvSpPr>
        <p:spPr>
          <a:xfrm>
            <a:off x="552450" y="702810"/>
            <a:ext cx="9144000" cy="20520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rgbClr val="0D202F"/>
              </a:buClr>
              <a:buSzPts val="6500"/>
              <a:buFont typeface="Arial"/>
              <a:buNone/>
              <a:defRPr sz="6500" b="1" i="0" u="none" strike="noStrike" cap="none">
                <a:solidFill>
                  <a:srgbClr val="0D202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a:t>Click to edit Master title style</a:t>
            </a:r>
            <a:endParaRPr/>
          </a:p>
        </p:txBody>
      </p:sp>
      <p:pic>
        <p:nvPicPr>
          <p:cNvPr id="3" name="Picture 2" descr="A screenshot of a video game&#10;&#10;Description automatically generated with medium confidence">
            <a:extLst>
              <a:ext uri="{FF2B5EF4-FFF2-40B4-BE49-F238E27FC236}">
                <a16:creationId xmlns:a16="http://schemas.microsoft.com/office/drawing/2014/main" id="{8D980F29-2435-49B2-BABF-6CD67D845B4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2450" y="5703005"/>
            <a:ext cx="2434469" cy="720197"/>
          </a:xfrm>
          <a:prstGeom prst="rect">
            <a:avLst/>
          </a:prstGeom>
        </p:spPr>
      </p:pic>
      <p:grpSp>
        <p:nvGrpSpPr>
          <p:cNvPr id="2" name="Group 1">
            <a:extLst>
              <a:ext uri="{FF2B5EF4-FFF2-40B4-BE49-F238E27FC236}">
                <a16:creationId xmlns:a16="http://schemas.microsoft.com/office/drawing/2014/main" id="{33BD10E9-49B1-0BA8-100F-A0FA08BEC597}"/>
              </a:ext>
            </a:extLst>
          </p:cNvPr>
          <p:cNvGrpSpPr/>
          <p:nvPr userDrawn="1"/>
        </p:nvGrpSpPr>
        <p:grpSpPr>
          <a:xfrm>
            <a:off x="8246717" y="2976931"/>
            <a:ext cx="3945284" cy="3881070"/>
            <a:chOff x="8246717" y="2976931"/>
            <a:chExt cx="3945284" cy="3881070"/>
          </a:xfrm>
        </p:grpSpPr>
        <p:pic>
          <p:nvPicPr>
            <p:cNvPr id="4" name="Picture 3" descr="A picture containing wave&#10;&#10;Description automatically generated">
              <a:extLst>
                <a:ext uri="{FF2B5EF4-FFF2-40B4-BE49-F238E27FC236}">
                  <a16:creationId xmlns:a16="http://schemas.microsoft.com/office/drawing/2014/main" id="{4DEFC78A-7415-FA68-E230-7E64BA77FD7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8246717" y="2976931"/>
              <a:ext cx="3945283" cy="3881069"/>
            </a:xfrm>
            <a:prstGeom prst="rect">
              <a:avLst/>
            </a:prstGeom>
          </p:spPr>
        </p:pic>
        <p:pic>
          <p:nvPicPr>
            <p:cNvPr id="5" name="Picture 4">
              <a:extLst>
                <a:ext uri="{FF2B5EF4-FFF2-40B4-BE49-F238E27FC236}">
                  <a16:creationId xmlns:a16="http://schemas.microsoft.com/office/drawing/2014/main" id="{4C88DFAC-1AC5-B1A5-ECEC-4C6DEB1348C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1048065" y="5036717"/>
              <a:ext cx="1143936" cy="1821284"/>
            </a:xfrm>
            <a:prstGeom prst="rect">
              <a:avLst/>
            </a:prstGeom>
          </p:spPr>
        </p:pic>
        <p:pic>
          <p:nvPicPr>
            <p:cNvPr id="6" name="Picture 5" descr="A picture containing round&#10;&#10;Description automatically generated">
              <a:extLst>
                <a:ext uri="{FF2B5EF4-FFF2-40B4-BE49-F238E27FC236}">
                  <a16:creationId xmlns:a16="http://schemas.microsoft.com/office/drawing/2014/main" id="{F5814A1C-63C0-2EA3-452C-AA75CD198DC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1808458" y="4770808"/>
              <a:ext cx="383542" cy="767080"/>
            </a:xfrm>
            <a:prstGeom prst="rect">
              <a:avLst/>
            </a:prstGeom>
          </p:spPr>
        </p:pic>
      </p:grpSp>
    </p:spTree>
    <p:extLst>
      <p:ext uri="{BB962C8B-B14F-4D97-AF65-F5344CB8AC3E}">
        <p14:creationId xmlns:p14="http://schemas.microsoft.com/office/powerpoint/2010/main" val="37067633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Disposition personnalisée" preserve="1" userDrawn="1">
  <p:cSld name="Disposition personnalisée">
    <p:spTree>
      <p:nvGrpSpPr>
        <p:cNvPr id="1" name="Shape 45"/>
        <p:cNvGrpSpPr/>
        <p:nvPr/>
      </p:nvGrpSpPr>
      <p:grpSpPr>
        <a:xfrm>
          <a:off x="0" y="0"/>
          <a:ext cx="0" cy="0"/>
          <a:chOff x="0" y="0"/>
          <a:chExt cx="0" cy="0"/>
        </a:xfrm>
      </p:grpSpPr>
      <p:pic>
        <p:nvPicPr>
          <p:cNvPr id="5" name="Picture 4" descr="A picture containing wave, spring, day&#10;&#10;Description automatically generated">
            <a:extLst>
              <a:ext uri="{FF2B5EF4-FFF2-40B4-BE49-F238E27FC236}">
                <a16:creationId xmlns:a16="http://schemas.microsoft.com/office/drawing/2014/main" id="{CC73FE67-2EA1-ACD1-AEB3-A2AF0A46CA5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5272497"/>
          </a:xfrm>
          <a:prstGeom prst="rect">
            <a:avLst/>
          </a:prstGeom>
        </p:spPr>
      </p:pic>
      <p:pic>
        <p:nvPicPr>
          <p:cNvPr id="4" name="Picture 3" descr="A picture containing background pattern&#10;&#10;Description automatically generated">
            <a:extLst>
              <a:ext uri="{FF2B5EF4-FFF2-40B4-BE49-F238E27FC236}">
                <a16:creationId xmlns:a16="http://schemas.microsoft.com/office/drawing/2014/main" id="{D607F9D8-2E8D-12B0-6F78-89B6C27C347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68630" y="123323"/>
            <a:ext cx="1019676" cy="1019678"/>
          </a:xfrm>
          <a:prstGeom prst="rect">
            <a:avLst/>
          </a:prstGeom>
        </p:spPr>
      </p:pic>
    </p:spTree>
    <p:extLst>
      <p:ext uri="{BB962C8B-B14F-4D97-AF65-F5344CB8AC3E}">
        <p14:creationId xmlns:p14="http://schemas.microsoft.com/office/powerpoint/2010/main" val="2003803888"/>
      </p:ext>
    </p:extLst>
  </p:cSld>
  <p:clrMapOvr>
    <a:masterClrMapping/>
  </p:clrMapOvr>
  <p:extLst>
    <p:ext uri="{DCECCB84-F9BA-43D5-87BE-67443E8EF086}">
      <p15:sldGuideLst xmlns:p15="http://schemas.microsoft.com/office/powerpoint/2012/main">
        <p15:guide id="3" orient="horz" pos="3906">
          <p15:clr>
            <a:srgbClr val="FBAE40"/>
          </p15:clr>
        </p15:guide>
        <p15:guide id="4" orient="horz" pos="323">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Diapositive de titre" preserve="1" userDrawn="1">
  <p:cSld name="1_Diapositive de titre">
    <p:spTree>
      <p:nvGrpSpPr>
        <p:cNvPr id="1" name="Shape 35"/>
        <p:cNvGrpSpPr/>
        <p:nvPr/>
      </p:nvGrpSpPr>
      <p:grpSpPr>
        <a:xfrm>
          <a:off x="0" y="0"/>
          <a:ext cx="0" cy="0"/>
          <a:chOff x="0" y="0"/>
          <a:chExt cx="0" cy="0"/>
        </a:xfrm>
      </p:grpSpPr>
    </p:spTree>
    <p:extLst>
      <p:ext uri="{BB962C8B-B14F-4D97-AF65-F5344CB8AC3E}">
        <p14:creationId xmlns:p14="http://schemas.microsoft.com/office/powerpoint/2010/main" val="40746278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x">
  <p:cSld name="3_Vide">
    <p:spTree>
      <p:nvGrpSpPr>
        <p:cNvPr id="1" name=""/>
        <p:cNvGrpSpPr/>
        <p:nvPr/>
      </p:nvGrpSpPr>
      <p:grpSpPr>
        <a:xfrm>
          <a:off x="0" y="0"/>
          <a:ext cx="0" cy="0"/>
          <a:chOff x="0" y="0"/>
          <a:chExt cx="0" cy="0"/>
        </a:xfrm>
      </p:grpSpPr>
      <p:sp>
        <p:nvSpPr>
          <p:cNvPr id="509" name="Title Text"/>
          <p:cNvSpPr txBox="1">
            <a:spLocks noGrp="1"/>
          </p:cNvSpPr>
          <p:nvPr>
            <p:ph type="title"/>
          </p:nvPr>
        </p:nvSpPr>
        <p:spPr>
          <a:xfrm>
            <a:off x="495298" y="536576"/>
            <a:ext cx="4559303" cy="1325564"/>
          </a:xfrm>
          <a:prstGeom prst="rect">
            <a:avLst/>
          </a:prstGeom>
        </p:spPr>
        <p:txBody>
          <a:bodyPr/>
          <a:lstStyle/>
          <a:p>
            <a:r>
              <a:rPr lang="en-US"/>
              <a:t>Click to edit Master title style</a:t>
            </a:r>
            <a:endParaRPr/>
          </a:p>
        </p:txBody>
      </p:sp>
      <p:sp>
        <p:nvSpPr>
          <p:cNvPr id="510" name="Body Level One…"/>
          <p:cNvSpPr txBox="1">
            <a:spLocks noGrp="1"/>
          </p:cNvSpPr>
          <p:nvPr>
            <p:ph type="body" sz="half" idx="1"/>
          </p:nvPr>
        </p:nvSpPr>
        <p:spPr>
          <a:xfrm>
            <a:off x="5689600" y="2038600"/>
            <a:ext cx="6011861" cy="4186239"/>
          </a:xfrm>
          <a:prstGeom prst="rect">
            <a:avLst/>
          </a:prstGeom>
        </p:spPr>
        <p:txBody>
          <a:bodyPr/>
          <a:lstStyle>
            <a:lvl1pPr marL="457200" indent="-381000">
              <a:buClr>
                <a:srgbClr val="18A1AB"/>
              </a:buClr>
              <a:buSzPts val="2400"/>
              <a:buFont typeface="Arial"/>
              <a:buChar char="•"/>
            </a:lvl1pPr>
            <a:lvl2pPr>
              <a:buClr>
                <a:srgbClr val="18A1AB"/>
              </a:buClr>
              <a:buFont typeface="Arial"/>
            </a:lvl2pPr>
            <a:lvl3pPr>
              <a:buClr>
                <a:srgbClr val="18A1AB"/>
              </a:buClr>
              <a:buFont typeface="Arial"/>
            </a:lvl3pPr>
            <a:lvl4pPr>
              <a:buClr>
                <a:srgbClr val="18A1AB"/>
              </a:buClr>
              <a:buFont typeface="Arial"/>
            </a:lvl4pPr>
            <a:lvl5pPr>
              <a:buClr>
                <a:srgbClr val="18A1AB"/>
              </a:buClr>
              <a:buFont typeface="Arial"/>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11" name="Google Shape;70;p17"/>
          <p:cNvSpPr txBox="1">
            <a:spLocks noGrp="1"/>
          </p:cNvSpPr>
          <p:nvPr>
            <p:ph type="body" sz="half" idx="21"/>
          </p:nvPr>
        </p:nvSpPr>
        <p:spPr>
          <a:xfrm>
            <a:off x="495298" y="2038600"/>
            <a:ext cx="4559303" cy="4186239"/>
          </a:xfrm>
          <a:prstGeom prst="rect">
            <a:avLst/>
          </a:prstGeom>
        </p:spPr>
        <p:txBody>
          <a:bodyPr/>
          <a:lstStyle/>
          <a:p>
            <a:pPr lvl="0"/>
            <a:r>
              <a:rPr lang="en-US"/>
              <a:t>Click to edit Master text styles</a:t>
            </a:r>
          </a:p>
        </p:txBody>
      </p:sp>
      <p:grpSp>
        <p:nvGrpSpPr>
          <p:cNvPr id="3" name="Group 2">
            <a:extLst>
              <a:ext uri="{FF2B5EF4-FFF2-40B4-BE49-F238E27FC236}">
                <a16:creationId xmlns:a16="http://schemas.microsoft.com/office/drawing/2014/main" id="{6A3DDD78-9083-8F9D-E36C-CFA010E1CAEF}"/>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A179492D-7178-D13B-5F35-49BA4369E7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47AE883F-FC66-AB9D-47A1-66F384CAED79}"/>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3500845242"/>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2_Diapositive de titre">
  <p:cSld name="2_Diapositive de titre">
    <p:bg>
      <p:bgPr>
        <a:solidFill>
          <a:srgbClr val="0B6377"/>
        </a:solidFill>
        <a:effectLst/>
      </p:bgPr>
    </p:bg>
    <p:spTree>
      <p:nvGrpSpPr>
        <p:cNvPr id="1" name="Shape 61"/>
        <p:cNvGrpSpPr/>
        <p:nvPr/>
      </p:nvGrpSpPr>
      <p:grpSpPr>
        <a:xfrm>
          <a:off x="0" y="0"/>
          <a:ext cx="0" cy="0"/>
          <a:chOff x="0" y="0"/>
          <a:chExt cx="0" cy="0"/>
        </a:xfrm>
      </p:grpSpPr>
      <p:sp>
        <p:nvSpPr>
          <p:cNvPr id="62" name="Google Shape;62;p16"/>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63" name="Google Shape;63;p16"/>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64" name="Google Shape;64;p16"/>
          <p:cNvPicPr preferRelativeResize="0"/>
          <p:nvPr/>
        </p:nvPicPr>
        <p:blipFill rotWithShape="1">
          <a:blip r:embed="rId2" cstate="screen">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65" name="Google Shape;65;p16"/>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1301416" y="5915024"/>
            <a:ext cx="1080000" cy="1080000"/>
          </a:xfrm>
          <a:prstGeom prst="rect">
            <a:avLst/>
          </a:prstGeom>
          <a:noFill/>
          <a:ln>
            <a:noFill/>
          </a:ln>
        </p:spPr>
      </p:pic>
    </p:spTree>
    <p:extLst>
      <p:ext uri="{BB962C8B-B14F-4D97-AF65-F5344CB8AC3E}">
        <p14:creationId xmlns:p14="http://schemas.microsoft.com/office/powerpoint/2010/main" val="35714480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019C490-25C0-5979-59A0-A27553D9287A}"/>
              </a:ext>
            </a:extLst>
          </p:cNvPr>
          <p:cNvGrpSpPr/>
          <p:nvPr userDrawn="1"/>
        </p:nvGrpSpPr>
        <p:grpSpPr>
          <a:xfrm>
            <a:off x="9785418" y="4651885"/>
            <a:ext cx="2406584" cy="2217690"/>
            <a:chOff x="9785418" y="4640310"/>
            <a:chExt cx="2406584" cy="2217690"/>
          </a:xfrm>
        </p:grpSpPr>
        <p:pic>
          <p:nvPicPr>
            <p:cNvPr id="11" name="Picture 10" descr="A picture containing wave, spring, day&#10;&#10;Description automatically generated">
              <a:extLst>
                <a:ext uri="{FF2B5EF4-FFF2-40B4-BE49-F238E27FC236}">
                  <a16:creationId xmlns:a16="http://schemas.microsoft.com/office/drawing/2014/main" id="{5D47A909-0FBD-63F3-C477-AFC73FC6E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12" name="Picture 11">
              <a:extLst>
                <a:ext uri="{FF2B5EF4-FFF2-40B4-BE49-F238E27FC236}">
                  <a16:creationId xmlns:a16="http://schemas.microsoft.com/office/drawing/2014/main" id="{9447C8E3-FA06-F3CE-3BD1-13CF506A927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3" name="Picture 12" descr="A picture containing round&#10;&#10;Description automatically generated">
              <a:extLst>
                <a:ext uri="{FF2B5EF4-FFF2-40B4-BE49-F238E27FC236}">
                  <a16:creationId xmlns:a16="http://schemas.microsoft.com/office/drawing/2014/main" id="{C84AE1E8-F4BF-B3B5-3B8F-B33B87C0601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1302098613"/>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1_Diapositive de titre">
  <p:cSld name="1_Diapositive de titre">
    <p:bg>
      <p:bgPr>
        <a:solidFill>
          <a:srgbClr val="19A1AC"/>
        </a:solidFill>
        <a:effectLst/>
      </p:bgPr>
    </p:bg>
    <p:spTree>
      <p:nvGrpSpPr>
        <p:cNvPr id="1" name="Shape 72"/>
        <p:cNvGrpSpPr/>
        <p:nvPr/>
      </p:nvGrpSpPr>
      <p:grpSpPr>
        <a:xfrm>
          <a:off x="0" y="0"/>
          <a:ext cx="0" cy="0"/>
          <a:chOff x="0" y="0"/>
          <a:chExt cx="0" cy="0"/>
        </a:xfrm>
      </p:grpSpPr>
      <p:sp>
        <p:nvSpPr>
          <p:cNvPr id="73" name="Google Shape;73;p18"/>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74" name="Google Shape;74;p18"/>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75" name="Google Shape;75;p18"/>
          <p:cNvPicPr preferRelativeResize="0"/>
          <p:nvPr/>
        </p:nvPicPr>
        <p:blipFill rotWithShape="1">
          <a:blip r:embed="rId2" cstate="print">
            <a:alphaModFix amt="80000"/>
            <a:extLst>
              <a:ext uri="{28A0092B-C50C-407E-A947-70E740481C1C}">
                <a14:useLocalDpi xmlns:a14="http://schemas.microsoft.com/office/drawing/2010/main"/>
              </a:ext>
            </a:extLst>
          </a:blip>
          <a:srcRect t="-12808" b="-12808"/>
          <a:stretch/>
        </p:blipFill>
        <p:spPr>
          <a:xfrm rot="2827792">
            <a:off x="10669130" y="4025263"/>
            <a:ext cx="3045743" cy="3826013"/>
          </a:xfrm>
          <a:prstGeom prst="rect">
            <a:avLst/>
          </a:prstGeom>
          <a:noFill/>
          <a:ln>
            <a:noFill/>
          </a:ln>
        </p:spPr>
      </p:pic>
      <p:pic>
        <p:nvPicPr>
          <p:cNvPr id="76" name="Google Shape;76;p18"/>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34936" y="-58737"/>
            <a:ext cx="1080000" cy="1080000"/>
          </a:xfrm>
          <a:prstGeom prst="rect">
            <a:avLst/>
          </a:prstGeom>
          <a:noFill/>
          <a:ln>
            <a:noFill/>
          </a:ln>
        </p:spPr>
      </p:pic>
    </p:spTree>
    <p:extLst>
      <p:ext uri="{BB962C8B-B14F-4D97-AF65-F5344CB8AC3E}">
        <p14:creationId xmlns:p14="http://schemas.microsoft.com/office/powerpoint/2010/main" val="17605351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1_Diapositive de titre">
  <p:cSld name="3_Diapositive de titre">
    <p:bg>
      <p:bgPr>
        <a:solidFill>
          <a:srgbClr val="7DCED4"/>
        </a:solidFill>
        <a:effectLst/>
      </p:bgPr>
    </p:bg>
    <p:spTree>
      <p:nvGrpSpPr>
        <p:cNvPr id="1" name="Shape 72"/>
        <p:cNvGrpSpPr/>
        <p:nvPr/>
      </p:nvGrpSpPr>
      <p:grpSpPr>
        <a:xfrm>
          <a:off x="0" y="0"/>
          <a:ext cx="0" cy="0"/>
          <a:chOff x="0" y="0"/>
          <a:chExt cx="0" cy="0"/>
        </a:xfrm>
      </p:grpSpPr>
      <p:sp>
        <p:nvSpPr>
          <p:cNvPr id="73" name="Google Shape;73;p18"/>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74" name="Google Shape;74;p18"/>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75" name="Google Shape;75;p18"/>
          <p:cNvPicPr preferRelativeResize="0"/>
          <p:nvPr/>
        </p:nvPicPr>
        <p:blipFill rotWithShape="1">
          <a:blip r:embed="rId2" cstate="print">
            <a:alphaModFix amt="80000"/>
            <a:extLst>
              <a:ext uri="{28A0092B-C50C-407E-A947-70E740481C1C}">
                <a14:useLocalDpi xmlns:a14="http://schemas.microsoft.com/office/drawing/2010/main"/>
              </a:ext>
            </a:extLst>
          </a:blip>
          <a:srcRect t="-12808" b="-12808"/>
          <a:stretch/>
        </p:blipFill>
        <p:spPr>
          <a:xfrm rot="2827792">
            <a:off x="10669130" y="4025263"/>
            <a:ext cx="3045743" cy="3826013"/>
          </a:xfrm>
          <a:prstGeom prst="rect">
            <a:avLst/>
          </a:prstGeom>
          <a:noFill/>
          <a:ln>
            <a:noFill/>
          </a:ln>
        </p:spPr>
      </p:pic>
      <p:pic>
        <p:nvPicPr>
          <p:cNvPr id="76" name="Google Shape;76;p18"/>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34936" y="-58737"/>
            <a:ext cx="1080000" cy="1080000"/>
          </a:xfrm>
          <a:prstGeom prst="rect">
            <a:avLst/>
          </a:prstGeom>
          <a:noFill/>
          <a:ln>
            <a:noFill/>
          </a:ln>
        </p:spPr>
      </p:pic>
    </p:spTree>
    <p:extLst>
      <p:ext uri="{BB962C8B-B14F-4D97-AF65-F5344CB8AC3E}">
        <p14:creationId xmlns:p14="http://schemas.microsoft.com/office/powerpoint/2010/main" val="39161402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Diapositive de titre" type="title">
  <p:cSld name="3_Diapositive de titre">
    <p:bg>
      <p:bgPr>
        <a:solidFill>
          <a:srgbClr val="0D1F2F"/>
        </a:solidFill>
        <a:effectLst/>
      </p:bgPr>
    </p:bg>
    <p:spTree>
      <p:nvGrpSpPr>
        <p:cNvPr id="1" name="Shape 51"/>
        <p:cNvGrpSpPr/>
        <p:nvPr/>
      </p:nvGrpSpPr>
      <p:grpSpPr>
        <a:xfrm>
          <a:off x="0" y="0"/>
          <a:ext cx="0" cy="0"/>
          <a:chOff x="0" y="0"/>
          <a:chExt cx="0" cy="0"/>
        </a:xfrm>
      </p:grpSpPr>
      <p:sp>
        <p:nvSpPr>
          <p:cNvPr id="52" name="Google Shape;52;p14"/>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3" name="Google Shape;53;p14"/>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54" name="Google Shape;54;p14"/>
          <p:cNvPicPr preferRelativeResize="0"/>
          <p:nvPr/>
        </p:nvPicPr>
        <p:blipFill rotWithShape="1">
          <a:blip r:embed="rId2" cstate="email">
            <a:alphaModFix amt="80000"/>
            <a:extLst>
              <a:ext uri="{28A0092B-C50C-407E-A947-70E740481C1C}">
                <a14:useLocalDpi xmlns:a14="http://schemas.microsoft.com/office/drawing/2010/main"/>
              </a:ext>
            </a:extLst>
          </a:blip>
          <a:srcRect/>
          <a:stretch/>
        </p:blipFill>
        <p:spPr>
          <a:xfrm rot="5092934">
            <a:off x="9076530" y="-943636"/>
            <a:ext cx="3182937" cy="3182937"/>
          </a:xfrm>
          <a:prstGeom prst="rect">
            <a:avLst/>
          </a:prstGeom>
          <a:noFill/>
          <a:ln>
            <a:noFill/>
          </a:ln>
        </p:spPr>
      </p:pic>
      <p:pic>
        <p:nvPicPr>
          <p:cNvPr id="2" name="Picture 1" descr="Logo&#10;&#10;Description automatically generated">
            <a:extLst>
              <a:ext uri="{FF2B5EF4-FFF2-40B4-BE49-F238E27FC236}">
                <a16:creationId xmlns:a16="http://schemas.microsoft.com/office/drawing/2014/main" id="{A7F12C5B-DD59-B19D-D4D5-DBC258D99A4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149" y="5849440"/>
            <a:ext cx="1080000" cy="1080000"/>
          </a:xfrm>
          <a:prstGeom prst="rect">
            <a:avLst/>
          </a:prstGeom>
        </p:spPr>
      </p:pic>
    </p:spTree>
    <p:extLst>
      <p:ext uri="{BB962C8B-B14F-4D97-AF65-F5344CB8AC3E}">
        <p14:creationId xmlns:p14="http://schemas.microsoft.com/office/powerpoint/2010/main" val="41003208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Diapositive de titre" type="title" preserve="1">
  <p:cSld name="3_Diapositive de titre">
    <p:bg>
      <p:bgPr>
        <a:solidFill>
          <a:srgbClr val="1685C8"/>
        </a:solidFill>
        <a:effectLst/>
      </p:bgPr>
    </p:bg>
    <p:spTree>
      <p:nvGrpSpPr>
        <p:cNvPr id="1" name="Shape 51"/>
        <p:cNvGrpSpPr/>
        <p:nvPr/>
      </p:nvGrpSpPr>
      <p:grpSpPr>
        <a:xfrm>
          <a:off x="0" y="0"/>
          <a:ext cx="0" cy="0"/>
          <a:chOff x="0" y="0"/>
          <a:chExt cx="0" cy="0"/>
        </a:xfrm>
      </p:grpSpPr>
      <p:sp>
        <p:nvSpPr>
          <p:cNvPr id="52" name="Google Shape;52;p14"/>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3" name="Google Shape;53;p14"/>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54" name="Google Shape;54;p14"/>
          <p:cNvPicPr preferRelativeResize="0"/>
          <p:nvPr/>
        </p:nvPicPr>
        <p:blipFill rotWithShape="1">
          <a:blip r:embed="rId2" cstate="email">
            <a:alphaModFix amt="80000"/>
            <a:extLst>
              <a:ext uri="{28A0092B-C50C-407E-A947-70E740481C1C}">
                <a14:useLocalDpi xmlns:a14="http://schemas.microsoft.com/office/drawing/2010/main"/>
              </a:ext>
            </a:extLst>
          </a:blip>
          <a:srcRect/>
          <a:stretch/>
        </p:blipFill>
        <p:spPr>
          <a:xfrm rot="5092934">
            <a:off x="9076530" y="-943636"/>
            <a:ext cx="3182937" cy="3182937"/>
          </a:xfrm>
          <a:prstGeom prst="rect">
            <a:avLst/>
          </a:prstGeom>
          <a:noFill/>
          <a:ln>
            <a:noFill/>
          </a:ln>
        </p:spPr>
      </p:pic>
      <p:pic>
        <p:nvPicPr>
          <p:cNvPr id="3" name="Google Shape;65;p16">
            <a:extLst>
              <a:ext uri="{FF2B5EF4-FFF2-40B4-BE49-F238E27FC236}">
                <a16:creationId xmlns:a16="http://schemas.microsoft.com/office/drawing/2014/main" id="{F38BBB27-F44C-02D3-1ED8-6CCFE2129F2B}"/>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a:off x="-271886" y="5876979"/>
            <a:ext cx="1350058" cy="1350058"/>
          </a:xfrm>
          <a:prstGeom prst="rect">
            <a:avLst/>
          </a:prstGeom>
          <a:noFill/>
          <a:ln>
            <a:noFill/>
          </a:ln>
        </p:spPr>
      </p:pic>
    </p:spTree>
    <p:extLst>
      <p:ext uri="{BB962C8B-B14F-4D97-AF65-F5344CB8AC3E}">
        <p14:creationId xmlns:p14="http://schemas.microsoft.com/office/powerpoint/2010/main" val="37845240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99" name="Google Shape;99;p32"/>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100" name="Google Shape;100;p32"/>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1015600" y="5757409"/>
            <a:ext cx="1302491" cy="1311729"/>
          </a:xfrm>
          <a:prstGeom prst="rect">
            <a:avLst/>
          </a:prstGeom>
          <a:noFill/>
          <a:ln>
            <a:noFill/>
          </a:ln>
        </p:spPr>
      </p:pic>
    </p:spTree>
    <p:extLst>
      <p:ext uri="{BB962C8B-B14F-4D97-AF65-F5344CB8AC3E}">
        <p14:creationId xmlns:p14="http://schemas.microsoft.com/office/powerpoint/2010/main" val="23698681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solidFill>
          <a:schemeClr val="bg1"/>
        </a:solidFill>
        <a:effectLst/>
      </p:bgPr>
    </p:bg>
    <p:spTree>
      <p:nvGrpSpPr>
        <p:cNvPr id="1" name="Shape 95"/>
        <p:cNvGrpSpPr/>
        <p:nvPr/>
      </p:nvGrpSpPr>
      <p:grpSpPr>
        <a:xfrm>
          <a:off x="0" y="0"/>
          <a:ext cx="0" cy="0"/>
          <a:chOff x="0" y="0"/>
          <a:chExt cx="0" cy="0"/>
        </a:xfrm>
      </p:grpSpPr>
      <p:pic>
        <p:nvPicPr>
          <p:cNvPr id="3" name="Picture 2" descr="A picture containing indoor, close&#10;&#10;Description automatically generated">
            <a:extLst>
              <a:ext uri="{FF2B5EF4-FFF2-40B4-BE49-F238E27FC236}">
                <a16:creationId xmlns:a16="http://schemas.microsoft.com/office/drawing/2014/main" id="{80ED1912-BD29-93A8-E0EB-DC26120AE18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1" cy="6857999"/>
          </a:xfrm>
          <a:prstGeom prst="rect">
            <a:avLst/>
          </a:prstGeom>
        </p:spPr>
      </p:pic>
      <p:sp>
        <p:nvSpPr>
          <p:cNvPr id="96" name="Google Shape;96;p32"/>
          <p:cNvSpPr/>
          <p:nvPr/>
        </p:nvSpPr>
        <p:spPr>
          <a:xfrm>
            <a:off x="0" y="0"/>
            <a:ext cx="12192000" cy="6858000"/>
          </a:xfrm>
          <a:prstGeom prst="rect">
            <a:avLst/>
          </a:prstGeom>
          <a:solidFill>
            <a:srgbClr val="0D1F2F">
              <a:alpha val="24775"/>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99" name="Google Shape;99;p32"/>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100" name="Google Shape;100;p32"/>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1015600" y="5757409"/>
            <a:ext cx="1302491" cy="1311729"/>
          </a:xfrm>
          <a:prstGeom prst="rect">
            <a:avLst/>
          </a:prstGeom>
          <a:noFill/>
          <a:ln>
            <a:noFill/>
          </a:ln>
        </p:spPr>
      </p:pic>
    </p:spTree>
    <p:extLst>
      <p:ext uri="{BB962C8B-B14F-4D97-AF65-F5344CB8AC3E}">
        <p14:creationId xmlns:p14="http://schemas.microsoft.com/office/powerpoint/2010/main" val="17770164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99" name="Google Shape;99;p32"/>
          <p:cNvPicPr preferRelativeResize="0"/>
          <p:nvPr/>
        </p:nvPicPr>
        <p:blipFill rotWithShape="1">
          <a:blip r:embed="rId3" cstate="email">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100" name="Google Shape;100;p32"/>
          <p:cNvPicPr preferRelativeResize="0"/>
          <p:nvPr/>
        </p:nvPicPr>
        <p:blipFill rotWithShape="1">
          <a:blip r:embed="rId4" cstate="email">
            <a:alphaModFix amt="85000"/>
            <a:extLst>
              <a:ext uri="{28A0092B-C50C-407E-A947-70E740481C1C}">
                <a14:useLocalDpi xmlns:a14="http://schemas.microsoft.com/office/drawing/2010/main"/>
              </a:ext>
            </a:extLst>
          </a:blip>
          <a:srcRect/>
          <a:stretch/>
        </p:blipFill>
        <p:spPr>
          <a:xfrm>
            <a:off x="11015600" y="5757409"/>
            <a:ext cx="1302491" cy="1311729"/>
          </a:xfrm>
          <a:prstGeom prst="rect">
            <a:avLst/>
          </a:prstGeom>
          <a:noFill/>
          <a:ln>
            <a:noFill/>
          </a:ln>
        </p:spPr>
      </p:pic>
    </p:spTree>
    <p:extLst>
      <p:ext uri="{BB962C8B-B14F-4D97-AF65-F5344CB8AC3E}">
        <p14:creationId xmlns:p14="http://schemas.microsoft.com/office/powerpoint/2010/main" val="7603647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Disposition personnalisée">
  <p:cSld name="1_Disposition personnalisée">
    <p:spTree>
      <p:nvGrpSpPr>
        <p:cNvPr id="1" name="Shape 45"/>
        <p:cNvGrpSpPr/>
        <p:nvPr/>
      </p:nvGrpSpPr>
      <p:grpSpPr>
        <a:xfrm>
          <a:off x="0" y="0"/>
          <a:ext cx="0" cy="0"/>
          <a:chOff x="0" y="0"/>
          <a:chExt cx="0" cy="0"/>
        </a:xfrm>
      </p:grpSpPr>
      <p:sp>
        <p:nvSpPr>
          <p:cNvPr id="46" name="Google Shape;46;p13"/>
          <p:cNvSpPr txBox="1">
            <a:spLocks noGrp="1"/>
          </p:cNvSpPr>
          <p:nvPr>
            <p:ph type="title"/>
          </p:nvPr>
        </p:nvSpPr>
        <p:spPr>
          <a:xfrm>
            <a:off x="495299" y="536577"/>
            <a:ext cx="11206162"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D202F"/>
              </a:buClr>
              <a:buSzPts val="3500"/>
              <a:buFont typeface="Arial"/>
              <a:buNone/>
              <a:defRPr sz="35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0" name="Google Shape;50;p13"/>
          <p:cNvSpPr txBox="1">
            <a:spLocks noGrp="1"/>
          </p:cNvSpPr>
          <p:nvPr>
            <p:ph type="body" idx="1"/>
          </p:nvPr>
        </p:nvSpPr>
        <p:spPr>
          <a:xfrm>
            <a:off x="495299" y="2038601"/>
            <a:ext cx="11206162" cy="418623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18A1AB"/>
              </a:buClr>
              <a:buSzPts val="24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grpSp>
        <p:nvGrpSpPr>
          <p:cNvPr id="6" name="Group 5">
            <a:extLst>
              <a:ext uri="{FF2B5EF4-FFF2-40B4-BE49-F238E27FC236}">
                <a16:creationId xmlns:a16="http://schemas.microsoft.com/office/drawing/2014/main" id="{0E1CF0C9-568F-2541-5D38-5A5FF5986AE1}"/>
              </a:ext>
            </a:extLst>
          </p:cNvPr>
          <p:cNvGrpSpPr/>
          <p:nvPr userDrawn="1"/>
        </p:nvGrpSpPr>
        <p:grpSpPr>
          <a:xfrm>
            <a:off x="9785418" y="4651885"/>
            <a:ext cx="2406584" cy="2217690"/>
            <a:chOff x="9785418" y="4640310"/>
            <a:chExt cx="2406584" cy="2217690"/>
          </a:xfrm>
        </p:grpSpPr>
        <p:pic>
          <p:nvPicPr>
            <p:cNvPr id="7" name="Picture 6" descr="A picture containing wave, spring, day&#10;&#10;Description automatically generated">
              <a:extLst>
                <a:ext uri="{FF2B5EF4-FFF2-40B4-BE49-F238E27FC236}">
                  <a16:creationId xmlns:a16="http://schemas.microsoft.com/office/drawing/2014/main" id="{FDA574C3-5DE6-B43D-7F65-0896E91D70E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8" name="Picture 7">
              <a:extLst>
                <a:ext uri="{FF2B5EF4-FFF2-40B4-BE49-F238E27FC236}">
                  <a16:creationId xmlns:a16="http://schemas.microsoft.com/office/drawing/2014/main" id="{578E6A7A-4EBB-2C8E-5270-FEAFB5CA62E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0" name="Picture 9" descr="A picture containing round&#10;&#10;Description automatically generated">
              <a:extLst>
                <a:ext uri="{FF2B5EF4-FFF2-40B4-BE49-F238E27FC236}">
                  <a16:creationId xmlns:a16="http://schemas.microsoft.com/office/drawing/2014/main" id="{1840CD53-BB30-A7A1-BA31-AF3B91637E6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1248831703"/>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275">
          <p15:clr>
            <a:srgbClr val="FBAE40"/>
          </p15:clr>
        </p15:guide>
        <p15:guide id="3" orient="horz" pos="3906">
          <p15:clr>
            <a:srgbClr val="FBAE40"/>
          </p15:clr>
        </p15:guide>
        <p15:guide id="4" orient="horz" pos="32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Disposition personnalisée" preserve="1">
  <p:cSld name="1_Disposition personnalisée">
    <p:spTree>
      <p:nvGrpSpPr>
        <p:cNvPr id="1" name="Shape 45"/>
        <p:cNvGrpSpPr/>
        <p:nvPr/>
      </p:nvGrpSpPr>
      <p:grpSpPr>
        <a:xfrm>
          <a:off x="0" y="0"/>
          <a:ext cx="0" cy="0"/>
          <a:chOff x="0" y="0"/>
          <a:chExt cx="0" cy="0"/>
        </a:xfrm>
      </p:grpSpPr>
      <p:pic>
        <p:nvPicPr>
          <p:cNvPr id="12" name="Picture 11" descr="A picture containing weapon, wave, night sky&#10;&#10;Description automatically generated">
            <a:extLst>
              <a:ext uri="{FF2B5EF4-FFF2-40B4-BE49-F238E27FC236}">
                <a16:creationId xmlns:a16="http://schemas.microsoft.com/office/drawing/2014/main" id="{97975025-D9C2-B2FA-99C9-43EEC0F7B34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5433226"/>
          </a:xfrm>
          <a:prstGeom prst="rect">
            <a:avLst/>
          </a:prstGeom>
        </p:spPr>
      </p:pic>
      <p:pic>
        <p:nvPicPr>
          <p:cNvPr id="5" name="Google Shape;60;p15">
            <a:extLst>
              <a:ext uri="{FF2B5EF4-FFF2-40B4-BE49-F238E27FC236}">
                <a16:creationId xmlns:a16="http://schemas.microsoft.com/office/drawing/2014/main" id="{D41B6AFB-0A3B-F27B-1187-7496FBDC5093}"/>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rot="16200000">
            <a:off x="10326342" y="-1253911"/>
            <a:ext cx="2490161" cy="2507821"/>
          </a:xfrm>
          <a:prstGeom prst="rect">
            <a:avLst/>
          </a:prstGeom>
          <a:noFill/>
          <a:ln>
            <a:noFill/>
          </a:ln>
        </p:spPr>
      </p:pic>
      <p:sp>
        <p:nvSpPr>
          <p:cNvPr id="46" name="Google Shape;46;p13"/>
          <p:cNvSpPr txBox="1">
            <a:spLocks noGrp="1"/>
          </p:cNvSpPr>
          <p:nvPr>
            <p:ph type="title"/>
          </p:nvPr>
        </p:nvSpPr>
        <p:spPr>
          <a:xfrm>
            <a:off x="495299" y="536577"/>
            <a:ext cx="11206162"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D202F"/>
              </a:buClr>
              <a:buSzPts val="3500"/>
              <a:buFont typeface="Arial"/>
              <a:buNone/>
              <a:defRPr sz="35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0" name="Google Shape;50;p13"/>
          <p:cNvSpPr txBox="1">
            <a:spLocks noGrp="1"/>
          </p:cNvSpPr>
          <p:nvPr>
            <p:ph type="body" idx="1"/>
          </p:nvPr>
        </p:nvSpPr>
        <p:spPr>
          <a:xfrm>
            <a:off x="495299" y="2038601"/>
            <a:ext cx="11206162" cy="418623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18A1AB"/>
              </a:buClr>
              <a:buSzPts val="24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Tree>
    <p:extLst>
      <p:ext uri="{BB962C8B-B14F-4D97-AF65-F5344CB8AC3E}">
        <p14:creationId xmlns:p14="http://schemas.microsoft.com/office/powerpoint/2010/main" val="442711780"/>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275">
          <p15:clr>
            <a:srgbClr val="FBAE40"/>
          </p15:clr>
        </p15:guide>
        <p15:guide id="3" orient="horz" pos="3906">
          <p15:clr>
            <a:srgbClr val="FBAE40"/>
          </p15:clr>
        </p15:guide>
        <p15:guide id="4" orient="horz" pos="323">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x">
  <p:cSld name="Content 3">
    <p:spTree>
      <p:nvGrpSpPr>
        <p:cNvPr id="1" name=""/>
        <p:cNvGrpSpPr/>
        <p:nvPr/>
      </p:nvGrpSpPr>
      <p:grpSpPr>
        <a:xfrm>
          <a:off x="0" y="0"/>
          <a:ext cx="0" cy="0"/>
          <a:chOff x="0" y="0"/>
          <a:chExt cx="0" cy="0"/>
        </a:xfrm>
      </p:grpSpPr>
      <p:sp>
        <p:nvSpPr>
          <p:cNvPr id="86" name="Title Text"/>
          <p:cNvSpPr txBox="1">
            <a:spLocks noGrp="1"/>
          </p:cNvSpPr>
          <p:nvPr>
            <p:ph type="title"/>
          </p:nvPr>
        </p:nvSpPr>
        <p:spPr>
          <a:xfrm>
            <a:off x="495298" y="536576"/>
            <a:ext cx="4559303" cy="1325564"/>
          </a:xfrm>
          <a:prstGeom prst="rect">
            <a:avLst/>
          </a:prstGeom>
        </p:spPr>
        <p:txBody>
          <a:bodyPr/>
          <a:lstStyle/>
          <a:p>
            <a:r>
              <a:rPr lang="en-US"/>
              <a:t>Click to edit Master title style</a:t>
            </a:r>
            <a:endParaRPr/>
          </a:p>
        </p:txBody>
      </p:sp>
      <p:sp>
        <p:nvSpPr>
          <p:cNvPr id="87" name="Body Level One…"/>
          <p:cNvSpPr txBox="1">
            <a:spLocks noGrp="1"/>
          </p:cNvSpPr>
          <p:nvPr>
            <p:ph type="body" sz="half" idx="1"/>
          </p:nvPr>
        </p:nvSpPr>
        <p:spPr>
          <a:xfrm>
            <a:off x="5689600" y="2038600"/>
            <a:ext cx="6011861" cy="4186239"/>
          </a:xfrm>
          <a:prstGeom prst="rect">
            <a:avLst/>
          </a:prstGeom>
        </p:spPr>
        <p:txBody>
          <a:bodyPr/>
          <a:lstStyle>
            <a:lvl1pPr marL="457200" indent="-381000">
              <a:buClr>
                <a:srgbClr val="18A1AB"/>
              </a:buClr>
              <a:buSzPts val="2400"/>
              <a:buFont typeface="Arial"/>
              <a:buChar char="•"/>
            </a:lvl1pPr>
            <a:lvl2pPr>
              <a:buClr>
                <a:srgbClr val="18A1AB"/>
              </a:buClr>
              <a:buFont typeface="Arial"/>
            </a:lvl2pPr>
            <a:lvl3pPr>
              <a:buClr>
                <a:srgbClr val="18A1AB"/>
              </a:buClr>
              <a:buFont typeface="Arial"/>
            </a:lvl3pPr>
            <a:lvl4pPr>
              <a:buClr>
                <a:srgbClr val="18A1AB"/>
              </a:buClr>
              <a:buFont typeface="Arial"/>
            </a:lvl4pPr>
            <a:lvl5pPr>
              <a:buClr>
                <a:srgbClr val="18A1AB"/>
              </a:buClr>
              <a:buFont typeface="Arial"/>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8" name="Google Shape;70;p17"/>
          <p:cNvSpPr txBox="1">
            <a:spLocks noGrp="1"/>
          </p:cNvSpPr>
          <p:nvPr>
            <p:ph type="body" sz="half" idx="21"/>
          </p:nvPr>
        </p:nvSpPr>
        <p:spPr>
          <a:xfrm>
            <a:off x="495298" y="2038600"/>
            <a:ext cx="4559303" cy="4186239"/>
          </a:xfrm>
          <a:prstGeom prst="rect">
            <a:avLst/>
          </a:prstGeom>
        </p:spPr>
        <p:txBody>
          <a:bodyPr/>
          <a:lstStyle/>
          <a:p>
            <a:pPr lvl="0"/>
            <a:r>
              <a:rPr lang="en-US"/>
              <a:t>Click to edit Master text styles</a:t>
            </a:r>
          </a:p>
        </p:txBody>
      </p:sp>
      <p:sp>
        <p:nvSpPr>
          <p:cNvPr id="90" name="Slide Number"/>
          <p:cNvSpPr txBox="1">
            <a:spLocks noGrp="1"/>
          </p:cNvSpPr>
          <p:nvPr>
            <p:ph type="sldNum" sz="quarter" idx="2"/>
          </p:nvPr>
        </p:nvSpPr>
        <p:spPr>
          <a:prstGeom prst="rect">
            <a:avLst/>
          </a:prstGeom>
        </p:spPr>
        <p:txBody>
          <a:bodyPr/>
          <a:lstStyle/>
          <a:p>
            <a:fld id="{86CB4B4D-7CA3-9044-876B-883B54F8677D}" type="slidenum">
              <a:t>‹#›</a:t>
            </a:fld>
            <a:endParaRPr/>
          </a:p>
        </p:txBody>
      </p:sp>
      <p:grpSp>
        <p:nvGrpSpPr>
          <p:cNvPr id="2" name="Group 1">
            <a:extLst>
              <a:ext uri="{FF2B5EF4-FFF2-40B4-BE49-F238E27FC236}">
                <a16:creationId xmlns:a16="http://schemas.microsoft.com/office/drawing/2014/main" id="{A1A26822-6FAF-9199-0C13-2C1D10F7661A}"/>
              </a:ext>
            </a:extLst>
          </p:cNvPr>
          <p:cNvGrpSpPr/>
          <p:nvPr userDrawn="1"/>
        </p:nvGrpSpPr>
        <p:grpSpPr>
          <a:xfrm>
            <a:off x="10238994" y="-152938"/>
            <a:ext cx="2580510" cy="2004888"/>
            <a:chOff x="10238994" y="-152938"/>
            <a:chExt cx="2580510" cy="2004888"/>
          </a:xfrm>
        </p:grpSpPr>
        <p:pic>
          <p:nvPicPr>
            <p:cNvPr id="3" name="Picture 2" descr="A picture containing weapon, spring, wave&#10;&#10;Description automatically generated">
              <a:extLst>
                <a:ext uri="{FF2B5EF4-FFF2-40B4-BE49-F238E27FC236}">
                  <a16:creationId xmlns:a16="http://schemas.microsoft.com/office/drawing/2014/main" id="{68646CF8-F4D9-7F3B-2577-9BEC675C89C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4" name="Picture 3" descr="Icon&#10;&#10;Description automatically generated">
              <a:extLst>
                <a:ext uri="{FF2B5EF4-FFF2-40B4-BE49-F238E27FC236}">
                  <a16:creationId xmlns:a16="http://schemas.microsoft.com/office/drawing/2014/main" id="{56D2192B-9B9C-C643-D9D4-0583CFDD5553}"/>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341772466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951792C-24DA-77BE-51D7-DEEEE8A8182E}"/>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5" name="Straight Connector 4">
            <a:extLst>
              <a:ext uri="{FF2B5EF4-FFF2-40B4-BE49-F238E27FC236}">
                <a16:creationId xmlns:a16="http://schemas.microsoft.com/office/drawing/2014/main" id="{C445DEF7-F798-9D3E-A6BB-1744445F6CCD}"/>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254439"/>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screen">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6" name="Straight Connector 5">
            <a:extLst>
              <a:ext uri="{FF2B5EF4-FFF2-40B4-BE49-F238E27FC236}">
                <a16:creationId xmlns:a16="http://schemas.microsoft.com/office/drawing/2014/main" id="{7949C012-A516-F7A4-42F6-133353606AD2}"/>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2274817"/>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screen">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p:nvPr>
        </p:nvSpPr>
        <p:spPr>
          <a:xfrm>
            <a:off x="606581" y="521972"/>
            <a:ext cx="10974916" cy="577041"/>
          </a:xfrm>
          <a:prstGeom prst="rect">
            <a:avLst/>
          </a:prstGeom>
        </p:spPr>
        <p:txBody>
          <a:bodyPr lIns="0" tIns="0" rIns="0" bIns="0" anchor="b"/>
          <a:lstStyle>
            <a:lvl1pPr marR="0" algn="l" defTabSz="914400" rtl="0" eaLnBrk="1" latinLnBrk="0" hangingPunct="1">
              <a:lnSpc>
                <a:spcPct val="90000"/>
              </a:lnSpc>
              <a:spcBef>
                <a:spcPct val="0"/>
              </a:spcBef>
              <a:spcAft>
                <a:spcPts val="0"/>
              </a:spcAft>
              <a:buClrTx/>
              <a:buFontTx/>
              <a:buNone/>
              <a:defRPr lang="en-US" sz="3500" b="1" i="0" u="none" strike="noStrike" kern="1200" cap="none" dirty="0">
                <a:solidFill>
                  <a:srgbClr val="0D1F2F"/>
                </a:solidFill>
                <a:latin typeface="Arial" panose="020B0604020202020204" pitchFamily="34" charset="0"/>
                <a:ea typeface="+mj-ea"/>
                <a:cs typeface="Arial" panose="020B0604020202020204" pitchFamily="34" charset="0"/>
                <a:sym typeface="Arial"/>
              </a:defRPr>
            </a:lvl1pPr>
          </a:lstStyle>
          <a:p>
            <a:r>
              <a:rPr lang="en-US"/>
              <a:t>Click to edit Master title style</a:t>
            </a:r>
          </a:p>
        </p:txBody>
      </p:sp>
      <p:cxnSp>
        <p:nvCxnSpPr>
          <p:cNvPr id="11" name="Straight Connector 10">
            <a:extLst>
              <a:ext uri="{FF2B5EF4-FFF2-40B4-BE49-F238E27FC236}">
                <a16:creationId xmlns:a16="http://schemas.microsoft.com/office/drawing/2014/main" id="{C7442DA2-7C72-9A6D-198A-3CBEC4BDB7D0}"/>
              </a:ext>
            </a:extLst>
          </p:cNvPr>
          <p:cNvCxnSpPr/>
          <p:nvPr userDrawn="1"/>
        </p:nvCxnSpPr>
        <p:spPr>
          <a:xfrm>
            <a:off x="620869" y="1208273"/>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134865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screen">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526100123"/>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9F7FE-BA4B-BE15-F512-9ADF80C98517}"/>
              </a:ext>
            </a:extLst>
          </p:cNvPr>
          <p:cNvSpPr>
            <a:spLocks noGrp="1"/>
          </p:cNvSpPr>
          <p:nvPr>
            <p:ph type="title"/>
          </p:nvPr>
        </p:nvSpPr>
        <p:spPr>
          <a:xfrm>
            <a:off x="606581" y="521972"/>
            <a:ext cx="10974916" cy="577041"/>
          </a:xfrm>
          <a:prstGeom prst="rect">
            <a:avLst/>
          </a:prstGeom>
        </p:spPr>
        <p:txBody>
          <a:bodyPr lIns="0" tIns="0" rIns="0" bIns="0" anchor="b"/>
          <a:lstStyle>
            <a:lvl1pPr marR="0" algn="l" defTabSz="914400" rtl="0" eaLnBrk="1" latinLnBrk="0" hangingPunct="1">
              <a:lnSpc>
                <a:spcPct val="90000"/>
              </a:lnSpc>
              <a:spcBef>
                <a:spcPct val="0"/>
              </a:spcBef>
              <a:spcAft>
                <a:spcPts val="0"/>
              </a:spcAft>
              <a:buClrTx/>
              <a:buFontTx/>
              <a:buNone/>
              <a:defRPr lang="en-US" sz="3500" b="1" i="0" u="none" strike="noStrike" kern="1200" cap="none" dirty="0">
                <a:solidFill>
                  <a:srgbClr val="0D1F2F"/>
                </a:solidFill>
                <a:latin typeface="Arial" panose="020B0604020202020204" pitchFamily="34" charset="0"/>
                <a:ea typeface="+mj-ea"/>
                <a:cs typeface="Arial" panose="020B0604020202020204" pitchFamily="34" charset="0"/>
                <a:sym typeface="Arial"/>
              </a:defRPr>
            </a:lvl1pPr>
          </a:lstStyle>
          <a:p>
            <a:r>
              <a:rPr lang="en-US"/>
              <a:t>Click to edit Master title style</a:t>
            </a:r>
          </a:p>
        </p:txBody>
      </p:sp>
      <p:cxnSp>
        <p:nvCxnSpPr>
          <p:cNvPr id="11" name="Straight Connector 10">
            <a:extLst>
              <a:ext uri="{FF2B5EF4-FFF2-40B4-BE49-F238E27FC236}">
                <a16:creationId xmlns:a16="http://schemas.microsoft.com/office/drawing/2014/main" id="{C7442DA2-7C72-9A6D-198A-3CBEC4BDB7D0}"/>
              </a:ext>
            </a:extLst>
          </p:cNvPr>
          <p:cNvCxnSpPr/>
          <p:nvPr userDrawn="1"/>
        </p:nvCxnSpPr>
        <p:spPr>
          <a:xfrm>
            <a:off x="620869" y="1208273"/>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D72586E-41BA-99B0-A3A9-7F635971612B}"/>
              </a:ext>
            </a:extLst>
          </p:cNvPr>
          <p:cNvGrpSpPr/>
          <p:nvPr userDrawn="1"/>
        </p:nvGrpSpPr>
        <p:grpSpPr>
          <a:xfrm>
            <a:off x="9785418" y="4651885"/>
            <a:ext cx="2406584" cy="2217690"/>
            <a:chOff x="9785418" y="4640310"/>
            <a:chExt cx="2406584" cy="2217690"/>
          </a:xfrm>
        </p:grpSpPr>
        <p:pic>
          <p:nvPicPr>
            <p:cNvPr id="7" name="Picture 6" descr="A picture containing wave, spring, day&#10;&#10;Description automatically generated">
              <a:extLst>
                <a:ext uri="{FF2B5EF4-FFF2-40B4-BE49-F238E27FC236}">
                  <a16:creationId xmlns:a16="http://schemas.microsoft.com/office/drawing/2014/main" id="{C35F0F41-FBCB-947A-81A1-F1BB8FD5E7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8" name="Picture 7">
              <a:extLst>
                <a:ext uri="{FF2B5EF4-FFF2-40B4-BE49-F238E27FC236}">
                  <a16:creationId xmlns:a16="http://schemas.microsoft.com/office/drawing/2014/main" id="{73F85F38-17C1-B56B-8C4F-2CB5A3249B6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9" name="Picture 8" descr="A picture containing round&#10;&#10;Description automatically generated">
              <a:extLst>
                <a:ext uri="{FF2B5EF4-FFF2-40B4-BE49-F238E27FC236}">
                  <a16:creationId xmlns:a16="http://schemas.microsoft.com/office/drawing/2014/main" id="{335D84A3-B047-1D39-E2EC-BB446035093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44959458"/>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019C490-25C0-5979-59A0-A27553D9287A}"/>
              </a:ext>
            </a:extLst>
          </p:cNvPr>
          <p:cNvGrpSpPr/>
          <p:nvPr userDrawn="1"/>
        </p:nvGrpSpPr>
        <p:grpSpPr>
          <a:xfrm>
            <a:off x="9785418" y="4651885"/>
            <a:ext cx="2406584" cy="2217690"/>
            <a:chOff x="9785418" y="4640310"/>
            <a:chExt cx="2406584" cy="2217690"/>
          </a:xfrm>
        </p:grpSpPr>
        <p:pic>
          <p:nvPicPr>
            <p:cNvPr id="11" name="Picture 10" descr="A picture containing wave, spring, day&#10;&#10;Description automatically generated">
              <a:extLst>
                <a:ext uri="{FF2B5EF4-FFF2-40B4-BE49-F238E27FC236}">
                  <a16:creationId xmlns:a16="http://schemas.microsoft.com/office/drawing/2014/main" id="{5D47A909-0FBD-63F3-C477-AFC73FC6E58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12" name="Picture 11">
              <a:extLst>
                <a:ext uri="{FF2B5EF4-FFF2-40B4-BE49-F238E27FC236}">
                  <a16:creationId xmlns:a16="http://schemas.microsoft.com/office/drawing/2014/main" id="{9447C8E3-FA06-F3CE-3BD1-13CF506A927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3" name="Picture 12" descr="A picture containing round&#10;&#10;Description automatically generated">
              <a:extLst>
                <a:ext uri="{FF2B5EF4-FFF2-40B4-BE49-F238E27FC236}">
                  <a16:creationId xmlns:a16="http://schemas.microsoft.com/office/drawing/2014/main" id="{C84AE1E8-F4BF-B3B5-3B8F-B33B87C0601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
        <p:nvSpPr>
          <p:cNvPr id="14" name="Title 1">
            <a:extLst>
              <a:ext uri="{FF2B5EF4-FFF2-40B4-BE49-F238E27FC236}">
                <a16:creationId xmlns:a16="http://schemas.microsoft.com/office/drawing/2014/main" id="{B1E275E0-E681-2A32-41BB-F252FD850880}"/>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15" name="Straight Connector 14">
            <a:extLst>
              <a:ext uri="{FF2B5EF4-FFF2-40B4-BE49-F238E27FC236}">
                <a16:creationId xmlns:a16="http://schemas.microsoft.com/office/drawing/2014/main" id="{8970C0C7-A23E-E396-C4CE-C9FA93E0900D}"/>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2352598"/>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019C490-25C0-5979-59A0-A27553D9287A}"/>
              </a:ext>
            </a:extLst>
          </p:cNvPr>
          <p:cNvGrpSpPr/>
          <p:nvPr userDrawn="1"/>
        </p:nvGrpSpPr>
        <p:grpSpPr>
          <a:xfrm>
            <a:off x="9785418" y="4651885"/>
            <a:ext cx="2406584" cy="2217690"/>
            <a:chOff x="9785418" y="4640310"/>
            <a:chExt cx="2406584" cy="2217690"/>
          </a:xfrm>
        </p:grpSpPr>
        <p:pic>
          <p:nvPicPr>
            <p:cNvPr id="11" name="Picture 10" descr="A picture containing wave, spring, day&#10;&#10;Description automatically generated">
              <a:extLst>
                <a:ext uri="{FF2B5EF4-FFF2-40B4-BE49-F238E27FC236}">
                  <a16:creationId xmlns:a16="http://schemas.microsoft.com/office/drawing/2014/main" id="{5D47A909-0FBD-63F3-C477-AFC73FC6E58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12" name="Picture 11">
              <a:extLst>
                <a:ext uri="{FF2B5EF4-FFF2-40B4-BE49-F238E27FC236}">
                  <a16:creationId xmlns:a16="http://schemas.microsoft.com/office/drawing/2014/main" id="{9447C8E3-FA06-F3CE-3BD1-13CF506A927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3" name="Picture 12" descr="A picture containing round&#10;&#10;Description automatically generated">
              <a:extLst>
                <a:ext uri="{FF2B5EF4-FFF2-40B4-BE49-F238E27FC236}">
                  <a16:creationId xmlns:a16="http://schemas.microsoft.com/office/drawing/2014/main" id="{C84AE1E8-F4BF-B3B5-3B8F-B33B87C0601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3199888611"/>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951792C-24DA-77BE-51D7-DEEEE8A8182E}"/>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5" name="Straight Connector 4">
            <a:extLst>
              <a:ext uri="{FF2B5EF4-FFF2-40B4-BE49-F238E27FC236}">
                <a16:creationId xmlns:a16="http://schemas.microsoft.com/office/drawing/2014/main" id="{C445DEF7-F798-9D3E-A6BB-1744445F6CCD}"/>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2604052"/>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2" name="Picture 1" descr="A screenshot of a video game&#10;&#10;Description automatically generated with medium confidence">
            <a:extLst>
              <a:ext uri="{FF2B5EF4-FFF2-40B4-BE49-F238E27FC236}">
                <a16:creationId xmlns:a16="http://schemas.microsoft.com/office/drawing/2014/main" id="{3EEA8AED-EE9C-4AB0-A780-4F3D637350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450" y="5703005"/>
            <a:ext cx="2434469" cy="720197"/>
          </a:xfrm>
          <a:prstGeom prst="rect">
            <a:avLst/>
          </a:prstGeom>
        </p:spPr>
      </p:pic>
      <p:grpSp>
        <p:nvGrpSpPr>
          <p:cNvPr id="4" name="Group 3">
            <a:extLst>
              <a:ext uri="{FF2B5EF4-FFF2-40B4-BE49-F238E27FC236}">
                <a16:creationId xmlns:a16="http://schemas.microsoft.com/office/drawing/2014/main" id="{ECE3BD83-B0E1-81D0-33EE-5B5435D382EE}"/>
              </a:ext>
            </a:extLst>
          </p:cNvPr>
          <p:cNvGrpSpPr/>
          <p:nvPr userDrawn="1"/>
        </p:nvGrpSpPr>
        <p:grpSpPr>
          <a:xfrm>
            <a:off x="8246717" y="2976931"/>
            <a:ext cx="3945284" cy="3881070"/>
            <a:chOff x="8246717" y="2976931"/>
            <a:chExt cx="3945284" cy="3881070"/>
          </a:xfrm>
        </p:grpSpPr>
        <p:pic>
          <p:nvPicPr>
            <p:cNvPr id="5" name="Picture 4" descr="A picture containing wave&#10;&#10;Description automatically generated">
              <a:extLst>
                <a:ext uri="{FF2B5EF4-FFF2-40B4-BE49-F238E27FC236}">
                  <a16:creationId xmlns:a16="http://schemas.microsoft.com/office/drawing/2014/main" id="{D71E02BD-969A-F358-79D2-37FA965C4AF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246717" y="2976931"/>
              <a:ext cx="3945283" cy="3881069"/>
            </a:xfrm>
            <a:prstGeom prst="rect">
              <a:avLst/>
            </a:prstGeom>
          </p:spPr>
        </p:pic>
        <p:pic>
          <p:nvPicPr>
            <p:cNvPr id="6" name="Picture 5">
              <a:extLst>
                <a:ext uri="{FF2B5EF4-FFF2-40B4-BE49-F238E27FC236}">
                  <a16:creationId xmlns:a16="http://schemas.microsoft.com/office/drawing/2014/main" id="{F5D8D2EE-D34C-104E-D7D4-C581C27E43E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048065" y="5036717"/>
              <a:ext cx="1143936" cy="1821284"/>
            </a:xfrm>
            <a:prstGeom prst="rect">
              <a:avLst/>
            </a:prstGeom>
          </p:spPr>
        </p:pic>
        <p:pic>
          <p:nvPicPr>
            <p:cNvPr id="7" name="Picture 6" descr="A picture containing round&#10;&#10;Description automatically generated">
              <a:extLst>
                <a:ext uri="{FF2B5EF4-FFF2-40B4-BE49-F238E27FC236}">
                  <a16:creationId xmlns:a16="http://schemas.microsoft.com/office/drawing/2014/main" id="{889DECE2-B875-4BBB-FBE4-583B823CBAC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808458" y="4770808"/>
              <a:ext cx="383542" cy="767080"/>
            </a:xfrm>
            <a:prstGeom prst="rect">
              <a:avLst/>
            </a:prstGeom>
          </p:spPr>
        </p:pic>
      </p:grpSp>
    </p:spTree>
    <p:extLst>
      <p:ext uri="{BB962C8B-B14F-4D97-AF65-F5344CB8AC3E}">
        <p14:creationId xmlns:p14="http://schemas.microsoft.com/office/powerpoint/2010/main" val="367520798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Disposition personnalisée" preserve="1" userDrawn="1">
  <p:cSld name="Disposition personnalisée">
    <p:spTree>
      <p:nvGrpSpPr>
        <p:cNvPr id="1" name="Shape 45"/>
        <p:cNvGrpSpPr/>
        <p:nvPr/>
      </p:nvGrpSpPr>
      <p:grpSpPr>
        <a:xfrm>
          <a:off x="0" y="0"/>
          <a:ext cx="0" cy="0"/>
          <a:chOff x="0" y="0"/>
          <a:chExt cx="0" cy="0"/>
        </a:xfrm>
      </p:grpSpPr>
      <p:pic>
        <p:nvPicPr>
          <p:cNvPr id="5" name="Picture 4" descr="A picture containing wave, spring, day&#10;&#10;Description automatically generated">
            <a:extLst>
              <a:ext uri="{FF2B5EF4-FFF2-40B4-BE49-F238E27FC236}">
                <a16:creationId xmlns:a16="http://schemas.microsoft.com/office/drawing/2014/main" id="{CC73FE67-2EA1-ACD1-AEB3-A2AF0A46C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5272497"/>
          </a:xfrm>
          <a:prstGeom prst="rect">
            <a:avLst/>
          </a:prstGeom>
        </p:spPr>
      </p:pic>
      <p:pic>
        <p:nvPicPr>
          <p:cNvPr id="4" name="Picture 3" descr="A picture containing background pattern&#10;&#10;Description automatically generated">
            <a:extLst>
              <a:ext uri="{FF2B5EF4-FFF2-40B4-BE49-F238E27FC236}">
                <a16:creationId xmlns:a16="http://schemas.microsoft.com/office/drawing/2014/main" id="{D607F9D8-2E8D-12B0-6F78-89B6C27C347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68630" y="123323"/>
            <a:ext cx="1019676" cy="1019678"/>
          </a:xfrm>
          <a:prstGeom prst="rect">
            <a:avLst/>
          </a:prstGeom>
        </p:spPr>
      </p:pic>
    </p:spTree>
    <p:extLst>
      <p:ext uri="{BB962C8B-B14F-4D97-AF65-F5344CB8AC3E}">
        <p14:creationId xmlns:p14="http://schemas.microsoft.com/office/powerpoint/2010/main" val="3794547640"/>
      </p:ext>
    </p:extLst>
  </p:cSld>
  <p:clrMapOvr>
    <a:masterClrMapping/>
  </p:clrMapOvr>
  <p:extLst>
    <p:ext uri="{DCECCB84-F9BA-43D5-87BE-67443E8EF086}">
      <p15:sldGuideLst xmlns:p15="http://schemas.microsoft.com/office/powerpoint/2012/main">
        <p15:guide id="3" orient="horz" pos="3906">
          <p15:clr>
            <a:srgbClr val="FBAE40"/>
          </p15:clr>
        </p15:guide>
        <p15:guide id="4" orient="horz" pos="32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Diapositive de titre" preserve="1" userDrawn="1">
  <p:cSld name="Diapositive de titre">
    <p:spTree>
      <p:nvGrpSpPr>
        <p:cNvPr id="1" name="Shape 35"/>
        <p:cNvGrpSpPr/>
        <p:nvPr/>
      </p:nvGrpSpPr>
      <p:grpSpPr>
        <a:xfrm>
          <a:off x="0" y="0"/>
          <a:ext cx="0" cy="0"/>
          <a:chOff x="0" y="0"/>
          <a:chExt cx="0" cy="0"/>
        </a:xfrm>
      </p:grpSpPr>
    </p:spTree>
    <p:extLst>
      <p:ext uri="{BB962C8B-B14F-4D97-AF65-F5344CB8AC3E}">
        <p14:creationId xmlns:p14="http://schemas.microsoft.com/office/powerpoint/2010/main" val="3082708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2" name="Picture 1" descr="A screenshot of a video game&#10;&#10;Description automatically generated with medium confidence">
            <a:extLst>
              <a:ext uri="{FF2B5EF4-FFF2-40B4-BE49-F238E27FC236}">
                <a16:creationId xmlns:a16="http://schemas.microsoft.com/office/drawing/2014/main" id="{3EEA8AED-EE9C-4AB0-A780-4F3D637350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2450" y="5703005"/>
            <a:ext cx="2434469" cy="720197"/>
          </a:xfrm>
          <a:prstGeom prst="rect">
            <a:avLst/>
          </a:prstGeom>
        </p:spPr>
      </p:pic>
      <p:grpSp>
        <p:nvGrpSpPr>
          <p:cNvPr id="4" name="Group 3">
            <a:extLst>
              <a:ext uri="{FF2B5EF4-FFF2-40B4-BE49-F238E27FC236}">
                <a16:creationId xmlns:a16="http://schemas.microsoft.com/office/drawing/2014/main" id="{ECE3BD83-B0E1-81D0-33EE-5B5435D382EE}"/>
              </a:ext>
            </a:extLst>
          </p:cNvPr>
          <p:cNvGrpSpPr/>
          <p:nvPr userDrawn="1"/>
        </p:nvGrpSpPr>
        <p:grpSpPr>
          <a:xfrm>
            <a:off x="8246717" y="2976931"/>
            <a:ext cx="3945284" cy="3881070"/>
            <a:chOff x="8246717" y="2976931"/>
            <a:chExt cx="3945284" cy="3881070"/>
          </a:xfrm>
        </p:grpSpPr>
        <p:pic>
          <p:nvPicPr>
            <p:cNvPr id="5" name="Picture 4" descr="A picture containing wave&#10;&#10;Description automatically generated">
              <a:extLst>
                <a:ext uri="{FF2B5EF4-FFF2-40B4-BE49-F238E27FC236}">
                  <a16:creationId xmlns:a16="http://schemas.microsoft.com/office/drawing/2014/main" id="{D71E02BD-969A-F358-79D2-37FA965C4AF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8246717" y="2976931"/>
              <a:ext cx="3945283" cy="3881069"/>
            </a:xfrm>
            <a:prstGeom prst="rect">
              <a:avLst/>
            </a:prstGeom>
          </p:spPr>
        </p:pic>
        <p:pic>
          <p:nvPicPr>
            <p:cNvPr id="6" name="Picture 5">
              <a:extLst>
                <a:ext uri="{FF2B5EF4-FFF2-40B4-BE49-F238E27FC236}">
                  <a16:creationId xmlns:a16="http://schemas.microsoft.com/office/drawing/2014/main" id="{F5D8D2EE-D34C-104E-D7D4-C581C27E43E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1048065" y="5036717"/>
              <a:ext cx="1143936" cy="1821284"/>
            </a:xfrm>
            <a:prstGeom prst="rect">
              <a:avLst/>
            </a:prstGeom>
          </p:spPr>
        </p:pic>
        <p:pic>
          <p:nvPicPr>
            <p:cNvPr id="7" name="Picture 6" descr="A picture containing round&#10;&#10;Description automatically generated">
              <a:extLst>
                <a:ext uri="{FF2B5EF4-FFF2-40B4-BE49-F238E27FC236}">
                  <a16:creationId xmlns:a16="http://schemas.microsoft.com/office/drawing/2014/main" id="{889DECE2-B875-4BBB-FBE4-583B823CBAC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1808458" y="4770808"/>
              <a:ext cx="383542" cy="767080"/>
            </a:xfrm>
            <a:prstGeom prst="rect">
              <a:avLst/>
            </a:prstGeom>
          </p:spPr>
        </p:pic>
      </p:grpSp>
    </p:spTree>
    <p:extLst>
      <p:ext uri="{BB962C8B-B14F-4D97-AF65-F5344CB8AC3E}">
        <p14:creationId xmlns:p14="http://schemas.microsoft.com/office/powerpoint/2010/main" val="2210335163"/>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6" name="Straight Connector 5">
            <a:extLst>
              <a:ext uri="{FF2B5EF4-FFF2-40B4-BE49-F238E27FC236}">
                <a16:creationId xmlns:a16="http://schemas.microsoft.com/office/drawing/2014/main" id="{7949C012-A516-F7A4-42F6-133353606AD2}"/>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899600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p:nvPr>
        </p:nvSpPr>
        <p:spPr>
          <a:xfrm>
            <a:off x="606581" y="521972"/>
            <a:ext cx="10974916" cy="577041"/>
          </a:xfrm>
          <a:prstGeom prst="rect">
            <a:avLst/>
          </a:prstGeom>
        </p:spPr>
        <p:txBody>
          <a:bodyPr lIns="0" tIns="0" rIns="0" bIns="0" anchor="b"/>
          <a:lstStyle>
            <a:lvl1pPr marR="0" algn="l" defTabSz="914400" rtl="0" eaLnBrk="1" latinLnBrk="0" hangingPunct="1">
              <a:lnSpc>
                <a:spcPct val="90000"/>
              </a:lnSpc>
              <a:spcBef>
                <a:spcPct val="0"/>
              </a:spcBef>
              <a:spcAft>
                <a:spcPts val="0"/>
              </a:spcAft>
              <a:buClrTx/>
              <a:buFontTx/>
              <a:buNone/>
              <a:defRPr lang="en-US" sz="3500" b="1" i="0" u="none" strike="noStrike" kern="1200" cap="none" dirty="0">
                <a:solidFill>
                  <a:srgbClr val="0D1F2F"/>
                </a:solidFill>
                <a:latin typeface="Arial" panose="020B0604020202020204" pitchFamily="34" charset="0"/>
                <a:ea typeface="+mj-ea"/>
                <a:cs typeface="Arial" panose="020B0604020202020204" pitchFamily="34" charset="0"/>
                <a:sym typeface="Arial"/>
              </a:defRPr>
            </a:lvl1pPr>
          </a:lstStyle>
          <a:p>
            <a:r>
              <a:rPr lang="en-US"/>
              <a:t>Click to edit Master title style</a:t>
            </a:r>
          </a:p>
        </p:txBody>
      </p:sp>
      <p:cxnSp>
        <p:nvCxnSpPr>
          <p:cNvPr id="11" name="Straight Connector 10">
            <a:extLst>
              <a:ext uri="{FF2B5EF4-FFF2-40B4-BE49-F238E27FC236}">
                <a16:creationId xmlns:a16="http://schemas.microsoft.com/office/drawing/2014/main" id="{C7442DA2-7C72-9A6D-198A-3CBEC4BDB7D0}"/>
              </a:ext>
            </a:extLst>
          </p:cNvPr>
          <p:cNvCxnSpPr/>
          <p:nvPr userDrawn="1"/>
        </p:nvCxnSpPr>
        <p:spPr>
          <a:xfrm>
            <a:off x="620869" y="1208273"/>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5403065"/>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402909895"/>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9F7FE-BA4B-BE15-F512-9ADF80C98517}"/>
              </a:ext>
            </a:extLst>
          </p:cNvPr>
          <p:cNvSpPr>
            <a:spLocks noGrp="1"/>
          </p:cNvSpPr>
          <p:nvPr>
            <p:ph type="title"/>
          </p:nvPr>
        </p:nvSpPr>
        <p:spPr>
          <a:xfrm>
            <a:off x="606581" y="521972"/>
            <a:ext cx="10974916" cy="577041"/>
          </a:xfrm>
          <a:prstGeom prst="rect">
            <a:avLst/>
          </a:prstGeom>
        </p:spPr>
        <p:txBody>
          <a:bodyPr lIns="0" tIns="0" rIns="0" bIns="0" anchor="b"/>
          <a:lstStyle>
            <a:lvl1pPr marR="0" algn="l" defTabSz="914400" rtl="0" eaLnBrk="1" latinLnBrk="0" hangingPunct="1">
              <a:lnSpc>
                <a:spcPct val="90000"/>
              </a:lnSpc>
              <a:spcBef>
                <a:spcPct val="0"/>
              </a:spcBef>
              <a:spcAft>
                <a:spcPts val="0"/>
              </a:spcAft>
              <a:buClrTx/>
              <a:buFontTx/>
              <a:buNone/>
              <a:defRPr lang="en-US" sz="3500" b="1" i="0" u="none" strike="noStrike" kern="1200" cap="none" dirty="0">
                <a:solidFill>
                  <a:srgbClr val="0D1F2F"/>
                </a:solidFill>
                <a:latin typeface="Arial" panose="020B0604020202020204" pitchFamily="34" charset="0"/>
                <a:ea typeface="+mj-ea"/>
                <a:cs typeface="Arial" panose="020B0604020202020204" pitchFamily="34" charset="0"/>
                <a:sym typeface="Arial"/>
              </a:defRPr>
            </a:lvl1pPr>
          </a:lstStyle>
          <a:p>
            <a:r>
              <a:rPr lang="en-US"/>
              <a:t>Click to edit Master title style</a:t>
            </a:r>
          </a:p>
        </p:txBody>
      </p:sp>
      <p:cxnSp>
        <p:nvCxnSpPr>
          <p:cNvPr id="11" name="Straight Connector 10">
            <a:extLst>
              <a:ext uri="{FF2B5EF4-FFF2-40B4-BE49-F238E27FC236}">
                <a16:creationId xmlns:a16="http://schemas.microsoft.com/office/drawing/2014/main" id="{C7442DA2-7C72-9A6D-198A-3CBEC4BDB7D0}"/>
              </a:ext>
            </a:extLst>
          </p:cNvPr>
          <p:cNvCxnSpPr/>
          <p:nvPr userDrawn="1"/>
        </p:nvCxnSpPr>
        <p:spPr>
          <a:xfrm>
            <a:off x="620869" y="1208273"/>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D72586E-41BA-99B0-A3A9-7F635971612B}"/>
              </a:ext>
            </a:extLst>
          </p:cNvPr>
          <p:cNvGrpSpPr/>
          <p:nvPr userDrawn="1"/>
        </p:nvGrpSpPr>
        <p:grpSpPr>
          <a:xfrm>
            <a:off x="9785418" y="4651885"/>
            <a:ext cx="2406584" cy="2217690"/>
            <a:chOff x="9785418" y="4640310"/>
            <a:chExt cx="2406584" cy="2217690"/>
          </a:xfrm>
        </p:grpSpPr>
        <p:pic>
          <p:nvPicPr>
            <p:cNvPr id="7" name="Picture 6" descr="A picture containing wave, spring, day&#10;&#10;Description automatically generated">
              <a:extLst>
                <a:ext uri="{FF2B5EF4-FFF2-40B4-BE49-F238E27FC236}">
                  <a16:creationId xmlns:a16="http://schemas.microsoft.com/office/drawing/2014/main" id="{C35F0F41-FBCB-947A-81A1-F1BB8FD5E71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8" name="Picture 7">
              <a:extLst>
                <a:ext uri="{FF2B5EF4-FFF2-40B4-BE49-F238E27FC236}">
                  <a16:creationId xmlns:a16="http://schemas.microsoft.com/office/drawing/2014/main" id="{73F85F38-17C1-B56B-8C4F-2CB5A3249B6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9" name="Picture 8" descr="A picture containing round&#10;&#10;Description automatically generated">
              <a:extLst>
                <a:ext uri="{FF2B5EF4-FFF2-40B4-BE49-F238E27FC236}">
                  <a16:creationId xmlns:a16="http://schemas.microsoft.com/office/drawing/2014/main" id="{335D84A3-B047-1D39-E2EC-BB446035093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2536282598"/>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019C490-25C0-5979-59A0-A27553D9287A}"/>
              </a:ext>
            </a:extLst>
          </p:cNvPr>
          <p:cNvGrpSpPr/>
          <p:nvPr userDrawn="1"/>
        </p:nvGrpSpPr>
        <p:grpSpPr>
          <a:xfrm>
            <a:off x="9785418" y="4651885"/>
            <a:ext cx="2406584" cy="2217690"/>
            <a:chOff x="9785418" y="4640310"/>
            <a:chExt cx="2406584" cy="2217690"/>
          </a:xfrm>
        </p:grpSpPr>
        <p:pic>
          <p:nvPicPr>
            <p:cNvPr id="11" name="Picture 10" descr="A picture containing wave, spring, day&#10;&#10;Description automatically generated">
              <a:extLst>
                <a:ext uri="{FF2B5EF4-FFF2-40B4-BE49-F238E27FC236}">
                  <a16:creationId xmlns:a16="http://schemas.microsoft.com/office/drawing/2014/main" id="{5D47A909-0FBD-63F3-C477-AFC73FC6E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12" name="Picture 11">
              <a:extLst>
                <a:ext uri="{FF2B5EF4-FFF2-40B4-BE49-F238E27FC236}">
                  <a16:creationId xmlns:a16="http://schemas.microsoft.com/office/drawing/2014/main" id="{9447C8E3-FA06-F3CE-3BD1-13CF506A927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3" name="Picture 12" descr="A picture containing round&#10;&#10;Description automatically generated">
              <a:extLst>
                <a:ext uri="{FF2B5EF4-FFF2-40B4-BE49-F238E27FC236}">
                  <a16:creationId xmlns:a16="http://schemas.microsoft.com/office/drawing/2014/main" id="{C84AE1E8-F4BF-B3B5-3B8F-B33B87C0601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
        <p:nvSpPr>
          <p:cNvPr id="14" name="Title 1">
            <a:extLst>
              <a:ext uri="{FF2B5EF4-FFF2-40B4-BE49-F238E27FC236}">
                <a16:creationId xmlns:a16="http://schemas.microsoft.com/office/drawing/2014/main" id="{B1E275E0-E681-2A32-41BB-F252FD850880}"/>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15" name="Straight Connector 14">
            <a:extLst>
              <a:ext uri="{FF2B5EF4-FFF2-40B4-BE49-F238E27FC236}">
                <a16:creationId xmlns:a16="http://schemas.microsoft.com/office/drawing/2014/main" id="{8970C0C7-A23E-E396-C4CE-C9FA93E0900D}"/>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4628709"/>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019C490-25C0-5979-59A0-A27553D9287A}"/>
              </a:ext>
            </a:extLst>
          </p:cNvPr>
          <p:cNvGrpSpPr/>
          <p:nvPr userDrawn="1"/>
        </p:nvGrpSpPr>
        <p:grpSpPr>
          <a:xfrm>
            <a:off x="9785418" y="4651885"/>
            <a:ext cx="2406584" cy="2217690"/>
            <a:chOff x="9785418" y="4640310"/>
            <a:chExt cx="2406584" cy="2217690"/>
          </a:xfrm>
        </p:grpSpPr>
        <p:pic>
          <p:nvPicPr>
            <p:cNvPr id="11" name="Picture 10" descr="A picture containing wave, spring, day&#10;&#10;Description automatically generated">
              <a:extLst>
                <a:ext uri="{FF2B5EF4-FFF2-40B4-BE49-F238E27FC236}">
                  <a16:creationId xmlns:a16="http://schemas.microsoft.com/office/drawing/2014/main" id="{5D47A909-0FBD-63F3-C477-AFC73FC6E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12" name="Picture 11">
              <a:extLst>
                <a:ext uri="{FF2B5EF4-FFF2-40B4-BE49-F238E27FC236}">
                  <a16:creationId xmlns:a16="http://schemas.microsoft.com/office/drawing/2014/main" id="{9447C8E3-FA06-F3CE-3BD1-13CF506A927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3" name="Picture 12" descr="A picture containing round&#10;&#10;Description automatically generated">
              <a:extLst>
                <a:ext uri="{FF2B5EF4-FFF2-40B4-BE49-F238E27FC236}">
                  <a16:creationId xmlns:a16="http://schemas.microsoft.com/office/drawing/2014/main" id="{C84AE1E8-F4BF-B3B5-3B8F-B33B87C0601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2585268871"/>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951792C-24DA-77BE-51D7-DEEEE8A8182E}"/>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5" name="Straight Connector 4">
            <a:extLst>
              <a:ext uri="{FF2B5EF4-FFF2-40B4-BE49-F238E27FC236}">
                <a16:creationId xmlns:a16="http://schemas.microsoft.com/office/drawing/2014/main" id="{C445DEF7-F798-9D3E-A6BB-1744445F6CCD}"/>
              </a:ext>
            </a:extLst>
          </p:cNvPr>
          <p:cNvCxnSpPr/>
          <p:nvPr userDrawn="1"/>
        </p:nvCxnSpPr>
        <p:spPr>
          <a:xfrm>
            <a:off x="620869" y="1521371"/>
            <a:ext cx="3600000" cy="0"/>
          </a:xfrm>
          <a:prstGeom prst="line">
            <a:avLst/>
          </a:prstGeom>
          <a:ln w="19050">
            <a:solidFill>
              <a:srgbClr val="0B63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108388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2" name="Picture 1" descr="A screenshot of a video game&#10;&#10;Description automatically generated with medium confidence">
            <a:extLst>
              <a:ext uri="{FF2B5EF4-FFF2-40B4-BE49-F238E27FC236}">
                <a16:creationId xmlns:a16="http://schemas.microsoft.com/office/drawing/2014/main" id="{3EEA8AED-EE9C-4AB0-A780-4F3D637350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2450" y="5703005"/>
            <a:ext cx="2434469" cy="720197"/>
          </a:xfrm>
          <a:prstGeom prst="rect">
            <a:avLst/>
          </a:prstGeom>
        </p:spPr>
      </p:pic>
      <p:grpSp>
        <p:nvGrpSpPr>
          <p:cNvPr id="4" name="Group 3">
            <a:extLst>
              <a:ext uri="{FF2B5EF4-FFF2-40B4-BE49-F238E27FC236}">
                <a16:creationId xmlns:a16="http://schemas.microsoft.com/office/drawing/2014/main" id="{ECE3BD83-B0E1-81D0-33EE-5B5435D382EE}"/>
              </a:ext>
            </a:extLst>
          </p:cNvPr>
          <p:cNvGrpSpPr/>
          <p:nvPr userDrawn="1"/>
        </p:nvGrpSpPr>
        <p:grpSpPr>
          <a:xfrm>
            <a:off x="8246717" y="2976931"/>
            <a:ext cx="3945284" cy="3881070"/>
            <a:chOff x="8246717" y="2976931"/>
            <a:chExt cx="3945284" cy="3881070"/>
          </a:xfrm>
        </p:grpSpPr>
        <p:pic>
          <p:nvPicPr>
            <p:cNvPr id="5" name="Picture 4" descr="A picture containing wave&#10;&#10;Description automatically generated">
              <a:extLst>
                <a:ext uri="{FF2B5EF4-FFF2-40B4-BE49-F238E27FC236}">
                  <a16:creationId xmlns:a16="http://schemas.microsoft.com/office/drawing/2014/main" id="{D71E02BD-969A-F358-79D2-37FA965C4AF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8246717" y="2976931"/>
              <a:ext cx="3945283" cy="3881069"/>
            </a:xfrm>
            <a:prstGeom prst="rect">
              <a:avLst/>
            </a:prstGeom>
          </p:spPr>
        </p:pic>
        <p:pic>
          <p:nvPicPr>
            <p:cNvPr id="6" name="Picture 5">
              <a:extLst>
                <a:ext uri="{FF2B5EF4-FFF2-40B4-BE49-F238E27FC236}">
                  <a16:creationId xmlns:a16="http://schemas.microsoft.com/office/drawing/2014/main" id="{F5D8D2EE-D34C-104E-D7D4-C581C27E43E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1048065" y="5036717"/>
              <a:ext cx="1143936" cy="1821284"/>
            </a:xfrm>
            <a:prstGeom prst="rect">
              <a:avLst/>
            </a:prstGeom>
          </p:spPr>
        </p:pic>
        <p:pic>
          <p:nvPicPr>
            <p:cNvPr id="7" name="Picture 6" descr="A picture containing round&#10;&#10;Description automatically generated">
              <a:extLst>
                <a:ext uri="{FF2B5EF4-FFF2-40B4-BE49-F238E27FC236}">
                  <a16:creationId xmlns:a16="http://schemas.microsoft.com/office/drawing/2014/main" id="{889DECE2-B875-4BBB-FBE4-583B823CBAC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1808458" y="4770808"/>
              <a:ext cx="383542" cy="767080"/>
            </a:xfrm>
            <a:prstGeom prst="rect">
              <a:avLst/>
            </a:prstGeom>
          </p:spPr>
        </p:pic>
      </p:grpSp>
    </p:spTree>
    <p:extLst>
      <p:ext uri="{BB962C8B-B14F-4D97-AF65-F5344CB8AC3E}">
        <p14:creationId xmlns:p14="http://schemas.microsoft.com/office/powerpoint/2010/main" val="231696198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Disposition personnalisée" preserve="1" userDrawn="1">
  <p:cSld name="Disposition personnalisée">
    <p:spTree>
      <p:nvGrpSpPr>
        <p:cNvPr id="1" name="Shape 45"/>
        <p:cNvGrpSpPr/>
        <p:nvPr/>
      </p:nvGrpSpPr>
      <p:grpSpPr>
        <a:xfrm>
          <a:off x="0" y="0"/>
          <a:ext cx="0" cy="0"/>
          <a:chOff x="0" y="0"/>
          <a:chExt cx="0" cy="0"/>
        </a:xfrm>
      </p:grpSpPr>
      <p:pic>
        <p:nvPicPr>
          <p:cNvPr id="5" name="Picture 4" descr="A picture containing wave, spring, day&#10;&#10;Description automatically generated">
            <a:extLst>
              <a:ext uri="{FF2B5EF4-FFF2-40B4-BE49-F238E27FC236}">
                <a16:creationId xmlns:a16="http://schemas.microsoft.com/office/drawing/2014/main" id="{CC73FE67-2EA1-ACD1-AEB3-A2AF0A46CA5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5272497"/>
          </a:xfrm>
          <a:prstGeom prst="rect">
            <a:avLst/>
          </a:prstGeom>
        </p:spPr>
      </p:pic>
      <p:pic>
        <p:nvPicPr>
          <p:cNvPr id="4" name="Picture 3" descr="A picture containing background pattern&#10;&#10;Description automatically generated">
            <a:extLst>
              <a:ext uri="{FF2B5EF4-FFF2-40B4-BE49-F238E27FC236}">
                <a16:creationId xmlns:a16="http://schemas.microsoft.com/office/drawing/2014/main" id="{D607F9D8-2E8D-12B0-6F78-89B6C27C347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68630" y="123323"/>
            <a:ext cx="1019676" cy="1019678"/>
          </a:xfrm>
          <a:prstGeom prst="rect">
            <a:avLst/>
          </a:prstGeom>
        </p:spPr>
      </p:pic>
    </p:spTree>
    <p:extLst>
      <p:ext uri="{BB962C8B-B14F-4D97-AF65-F5344CB8AC3E}">
        <p14:creationId xmlns:p14="http://schemas.microsoft.com/office/powerpoint/2010/main" val="921794665"/>
      </p:ext>
    </p:extLst>
  </p:cSld>
  <p:clrMapOvr>
    <a:masterClrMapping/>
  </p:clrMapOvr>
  <p:extLst>
    <p:ext uri="{DCECCB84-F9BA-43D5-87BE-67443E8EF086}">
      <p15:sldGuideLst xmlns:p15="http://schemas.microsoft.com/office/powerpoint/2012/main">
        <p15:guide id="3" orient="horz" pos="3906">
          <p15:clr>
            <a:srgbClr val="FBAE40"/>
          </p15:clr>
        </p15:guide>
        <p15:guide id="4" orient="horz" pos="323">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Diapositive de titre" preserve="1" userDrawn="1">
  <p:cSld name="Diapositive de titre">
    <p:spTree>
      <p:nvGrpSpPr>
        <p:cNvPr id="1" name="Shape 35"/>
        <p:cNvGrpSpPr/>
        <p:nvPr/>
      </p:nvGrpSpPr>
      <p:grpSpPr>
        <a:xfrm>
          <a:off x="0" y="0"/>
          <a:ext cx="0" cy="0"/>
          <a:chOff x="0" y="0"/>
          <a:chExt cx="0" cy="0"/>
        </a:xfrm>
      </p:grpSpPr>
    </p:spTree>
    <p:extLst>
      <p:ext uri="{BB962C8B-B14F-4D97-AF65-F5344CB8AC3E}">
        <p14:creationId xmlns:p14="http://schemas.microsoft.com/office/powerpoint/2010/main" val="36151194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Disposition personnalisée" preserve="1" userDrawn="1">
  <p:cSld name="Disposition personnalisée">
    <p:spTree>
      <p:nvGrpSpPr>
        <p:cNvPr id="1" name="Shape 45"/>
        <p:cNvGrpSpPr/>
        <p:nvPr/>
      </p:nvGrpSpPr>
      <p:grpSpPr>
        <a:xfrm>
          <a:off x="0" y="0"/>
          <a:ext cx="0" cy="0"/>
          <a:chOff x="0" y="0"/>
          <a:chExt cx="0" cy="0"/>
        </a:xfrm>
      </p:grpSpPr>
      <p:pic>
        <p:nvPicPr>
          <p:cNvPr id="5" name="Picture 4" descr="A picture containing wave, spring, day&#10;&#10;Description automatically generated">
            <a:extLst>
              <a:ext uri="{FF2B5EF4-FFF2-40B4-BE49-F238E27FC236}">
                <a16:creationId xmlns:a16="http://schemas.microsoft.com/office/drawing/2014/main" id="{CC73FE67-2EA1-ACD1-AEB3-A2AF0A46CA5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5272497"/>
          </a:xfrm>
          <a:prstGeom prst="rect">
            <a:avLst/>
          </a:prstGeom>
        </p:spPr>
      </p:pic>
      <p:pic>
        <p:nvPicPr>
          <p:cNvPr id="4" name="Picture 3" descr="A picture containing background pattern&#10;&#10;Description automatically generated">
            <a:extLst>
              <a:ext uri="{FF2B5EF4-FFF2-40B4-BE49-F238E27FC236}">
                <a16:creationId xmlns:a16="http://schemas.microsoft.com/office/drawing/2014/main" id="{D607F9D8-2E8D-12B0-6F78-89B6C27C347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68630" y="123323"/>
            <a:ext cx="1019676" cy="1019678"/>
          </a:xfrm>
          <a:prstGeom prst="rect">
            <a:avLst/>
          </a:prstGeom>
        </p:spPr>
      </p:pic>
    </p:spTree>
    <p:extLst>
      <p:ext uri="{BB962C8B-B14F-4D97-AF65-F5344CB8AC3E}">
        <p14:creationId xmlns:p14="http://schemas.microsoft.com/office/powerpoint/2010/main" val="2641254487"/>
      </p:ext>
    </p:extLst>
  </p:cSld>
  <p:clrMapOvr>
    <a:masterClrMapping/>
  </p:clrMapOvr>
  <p:extLst>
    <p:ext uri="{DCECCB84-F9BA-43D5-87BE-67443E8EF086}">
      <p15:sldGuideLst xmlns:p15="http://schemas.microsoft.com/office/powerpoint/2012/main">
        <p15:guide id="3" orient="horz" pos="3906">
          <p15:clr>
            <a:srgbClr val="FBAE40"/>
          </p15:clr>
        </p15:guide>
        <p15:guide id="4" orient="horz" pos="323">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2_Diapositive de titre" preserve="1">
  <p:cSld name="2_Diapositive de titr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99" name="Google Shape;99;p32"/>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100" name="Google Shape;100;p32"/>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1015600" y="5757409"/>
            <a:ext cx="1302491" cy="1311729"/>
          </a:xfrm>
          <a:prstGeom prst="rect">
            <a:avLst/>
          </a:prstGeom>
          <a:noFill/>
          <a:ln>
            <a:noFill/>
          </a:ln>
        </p:spPr>
      </p:pic>
    </p:spTree>
    <p:extLst>
      <p:ext uri="{BB962C8B-B14F-4D97-AF65-F5344CB8AC3E}">
        <p14:creationId xmlns:p14="http://schemas.microsoft.com/office/powerpoint/2010/main" val="6362555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solidFill>
          <a:schemeClr val="bg1"/>
        </a:solidFill>
        <a:effectLst/>
      </p:bgPr>
    </p:bg>
    <p:spTree>
      <p:nvGrpSpPr>
        <p:cNvPr id="1" name="Shape 95"/>
        <p:cNvGrpSpPr/>
        <p:nvPr/>
      </p:nvGrpSpPr>
      <p:grpSpPr>
        <a:xfrm>
          <a:off x="0" y="0"/>
          <a:ext cx="0" cy="0"/>
          <a:chOff x="0" y="0"/>
          <a:chExt cx="0" cy="0"/>
        </a:xfrm>
      </p:grpSpPr>
      <p:pic>
        <p:nvPicPr>
          <p:cNvPr id="3" name="Picture 2" descr="A picture containing indoor, close&#10;&#10;Description automatically generated">
            <a:extLst>
              <a:ext uri="{FF2B5EF4-FFF2-40B4-BE49-F238E27FC236}">
                <a16:creationId xmlns:a16="http://schemas.microsoft.com/office/drawing/2014/main" id="{80ED1912-BD29-93A8-E0EB-DC26120AE18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1" cy="6857999"/>
          </a:xfrm>
          <a:prstGeom prst="rect">
            <a:avLst/>
          </a:prstGeom>
        </p:spPr>
      </p:pic>
      <p:sp>
        <p:nvSpPr>
          <p:cNvPr id="96" name="Google Shape;96;p32"/>
          <p:cNvSpPr/>
          <p:nvPr/>
        </p:nvSpPr>
        <p:spPr>
          <a:xfrm>
            <a:off x="0" y="0"/>
            <a:ext cx="12192000" cy="6858000"/>
          </a:xfrm>
          <a:prstGeom prst="rect">
            <a:avLst/>
          </a:prstGeom>
          <a:solidFill>
            <a:srgbClr val="0D1F2F">
              <a:alpha val="24775"/>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99" name="Google Shape;99;p32"/>
          <p:cNvPicPr preferRelativeResize="0"/>
          <p:nvPr/>
        </p:nvPicPr>
        <p:blipFill rotWithShape="1">
          <a:blip r:embed="rId3" cstate="screen">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100" name="Google Shape;100;p32"/>
          <p:cNvPicPr preferRelativeResize="0"/>
          <p:nvPr/>
        </p:nvPicPr>
        <p:blipFill rotWithShape="1">
          <a:blip r:embed="rId4" cstate="screen">
            <a:alphaModFix amt="85000"/>
            <a:extLst>
              <a:ext uri="{28A0092B-C50C-407E-A947-70E740481C1C}">
                <a14:useLocalDpi xmlns:a14="http://schemas.microsoft.com/office/drawing/2010/main"/>
              </a:ext>
            </a:extLst>
          </a:blip>
          <a:srcRect/>
          <a:stretch/>
        </p:blipFill>
        <p:spPr>
          <a:xfrm>
            <a:off x="11015600" y="5757409"/>
            <a:ext cx="1302491" cy="1311729"/>
          </a:xfrm>
          <a:prstGeom prst="rect">
            <a:avLst/>
          </a:prstGeom>
          <a:noFill/>
          <a:ln>
            <a:noFill/>
          </a:ln>
        </p:spPr>
      </p:pic>
    </p:spTree>
    <p:extLst>
      <p:ext uri="{BB962C8B-B14F-4D97-AF65-F5344CB8AC3E}">
        <p14:creationId xmlns:p14="http://schemas.microsoft.com/office/powerpoint/2010/main" val="325062901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2_Diapositive de titre" preserve="1">
  <p:cSld name="3_Diapositive de titr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Shape 95"/>
        <p:cNvGrpSpPr/>
        <p:nvPr/>
      </p:nvGrpSpPr>
      <p:grpSpPr>
        <a:xfrm>
          <a:off x="0" y="0"/>
          <a:ext cx="0" cy="0"/>
          <a:chOff x="0" y="0"/>
          <a:chExt cx="0" cy="0"/>
        </a:xfrm>
      </p:grpSpPr>
      <p:sp>
        <p:nvSpPr>
          <p:cNvPr id="96" name="Google Shape;96;p32"/>
          <p:cNvSpPr/>
          <p:nvPr/>
        </p:nvSpPr>
        <p:spPr>
          <a:xfrm>
            <a:off x="0" y="0"/>
            <a:ext cx="12192000" cy="6858000"/>
          </a:xfrm>
          <a:prstGeom prst="rect">
            <a:avLst/>
          </a:prstGeom>
          <a:solidFill>
            <a:srgbClr val="0D1F2F">
              <a:alpha val="30000"/>
            </a:srgbClr>
          </a:solidFill>
          <a:ln w="25400" cap="flat" cmpd="sng">
            <a:solidFill>
              <a:srgbClr val="000000">
                <a:alpha val="20000"/>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 name="Google Shape;97;p32"/>
          <p:cNvSpPr txBox="1">
            <a:spLocks noGrp="1"/>
          </p:cNvSpPr>
          <p:nvPr>
            <p:ph type="ctrTitle"/>
          </p:nvPr>
        </p:nvSpPr>
        <p:spPr>
          <a:xfrm>
            <a:off x="1524000" y="1443037"/>
            <a:ext cx="9144000" cy="2414587"/>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6000"/>
              <a:buFont typeface="Arial"/>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32"/>
          <p:cNvSpPr txBox="1">
            <a:spLocks noGrp="1"/>
          </p:cNvSpPr>
          <p:nvPr>
            <p:ph type="subTitle" idx="1"/>
          </p:nvPr>
        </p:nvSpPr>
        <p:spPr>
          <a:xfrm>
            <a:off x="1524000" y="4386262"/>
            <a:ext cx="9144000" cy="871537"/>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99" name="Google Shape;99;p32"/>
          <p:cNvPicPr preferRelativeResize="0"/>
          <p:nvPr/>
        </p:nvPicPr>
        <p:blipFill rotWithShape="1">
          <a:blip r:embed="rId3" cstate="email">
            <a:alphaModFix amt="80000"/>
            <a:extLst>
              <a:ext uri="{28A0092B-C50C-407E-A947-70E740481C1C}">
                <a14:useLocalDpi xmlns:a14="http://schemas.microsoft.com/office/drawing/2010/main"/>
              </a:ext>
            </a:extLst>
          </a:blip>
          <a:srcRect/>
          <a:stretch/>
        </p:blipFill>
        <p:spPr>
          <a:xfrm rot="10438165">
            <a:off x="-1061411" y="-1049401"/>
            <a:ext cx="2968630" cy="2968630"/>
          </a:xfrm>
          <a:prstGeom prst="rect">
            <a:avLst/>
          </a:prstGeom>
          <a:noFill/>
          <a:ln>
            <a:noFill/>
          </a:ln>
        </p:spPr>
      </p:pic>
      <p:pic>
        <p:nvPicPr>
          <p:cNvPr id="100" name="Google Shape;100;p32"/>
          <p:cNvPicPr preferRelativeResize="0"/>
          <p:nvPr/>
        </p:nvPicPr>
        <p:blipFill rotWithShape="1">
          <a:blip r:embed="rId4" cstate="email">
            <a:alphaModFix amt="85000"/>
            <a:extLst>
              <a:ext uri="{28A0092B-C50C-407E-A947-70E740481C1C}">
                <a14:useLocalDpi xmlns:a14="http://schemas.microsoft.com/office/drawing/2010/main"/>
              </a:ext>
            </a:extLst>
          </a:blip>
          <a:srcRect/>
          <a:stretch/>
        </p:blipFill>
        <p:spPr>
          <a:xfrm>
            <a:off x="11015600" y="5757409"/>
            <a:ext cx="1302491" cy="1311729"/>
          </a:xfrm>
          <a:prstGeom prst="rect">
            <a:avLst/>
          </a:prstGeom>
          <a:noFill/>
          <a:ln>
            <a:noFill/>
          </a:ln>
        </p:spPr>
      </p:pic>
    </p:spTree>
    <p:extLst>
      <p:ext uri="{BB962C8B-B14F-4D97-AF65-F5344CB8AC3E}">
        <p14:creationId xmlns:p14="http://schemas.microsoft.com/office/powerpoint/2010/main" val="232771410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Disposition personnalisée" preserve="1">
  <p:cSld name="1_Disposition personnalisée">
    <p:spTree>
      <p:nvGrpSpPr>
        <p:cNvPr id="1" name="Shape 45"/>
        <p:cNvGrpSpPr/>
        <p:nvPr/>
      </p:nvGrpSpPr>
      <p:grpSpPr>
        <a:xfrm>
          <a:off x="0" y="0"/>
          <a:ext cx="0" cy="0"/>
          <a:chOff x="0" y="0"/>
          <a:chExt cx="0" cy="0"/>
        </a:xfrm>
      </p:grpSpPr>
      <p:pic>
        <p:nvPicPr>
          <p:cNvPr id="12" name="Picture 11" descr="A picture containing weapon, wave, night sky&#10;&#10;Description automatically generated">
            <a:extLst>
              <a:ext uri="{FF2B5EF4-FFF2-40B4-BE49-F238E27FC236}">
                <a16:creationId xmlns:a16="http://schemas.microsoft.com/office/drawing/2014/main" id="{97975025-D9C2-B2FA-99C9-43EEC0F7B34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5433226"/>
          </a:xfrm>
          <a:prstGeom prst="rect">
            <a:avLst/>
          </a:prstGeom>
        </p:spPr>
      </p:pic>
      <p:pic>
        <p:nvPicPr>
          <p:cNvPr id="5" name="Google Shape;60;p15">
            <a:extLst>
              <a:ext uri="{FF2B5EF4-FFF2-40B4-BE49-F238E27FC236}">
                <a16:creationId xmlns:a16="http://schemas.microsoft.com/office/drawing/2014/main" id="{D41B6AFB-0A3B-F27B-1187-7496FBDC5093}"/>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rot="16200000">
            <a:off x="10326342" y="-1253911"/>
            <a:ext cx="2490161" cy="2507821"/>
          </a:xfrm>
          <a:prstGeom prst="rect">
            <a:avLst/>
          </a:prstGeom>
          <a:noFill/>
          <a:ln>
            <a:noFill/>
          </a:ln>
        </p:spPr>
      </p:pic>
      <p:sp>
        <p:nvSpPr>
          <p:cNvPr id="46" name="Google Shape;46;p13"/>
          <p:cNvSpPr txBox="1">
            <a:spLocks noGrp="1"/>
          </p:cNvSpPr>
          <p:nvPr>
            <p:ph type="title"/>
          </p:nvPr>
        </p:nvSpPr>
        <p:spPr>
          <a:xfrm>
            <a:off x="495299" y="536577"/>
            <a:ext cx="11206162"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D202F"/>
              </a:buClr>
              <a:buSzPts val="3500"/>
              <a:buFont typeface="Arial"/>
              <a:buNone/>
              <a:defRPr sz="35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 name="Google Shape;50;p13"/>
          <p:cNvSpPr txBox="1">
            <a:spLocks noGrp="1"/>
          </p:cNvSpPr>
          <p:nvPr>
            <p:ph type="body" idx="1"/>
          </p:nvPr>
        </p:nvSpPr>
        <p:spPr>
          <a:xfrm>
            <a:off x="495299" y="2038601"/>
            <a:ext cx="11206162" cy="418623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18A1AB"/>
              </a:buClr>
              <a:buSzPts val="24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28896723"/>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275">
          <p15:clr>
            <a:srgbClr val="FBAE40"/>
          </p15:clr>
        </p15:guide>
        <p15:guide id="3" orient="horz" pos="3906">
          <p15:clr>
            <a:srgbClr val="FBAE40"/>
          </p15:clr>
        </p15:guide>
        <p15:guide id="4" orient="horz" pos="32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x">
  <p:cSld name="Content 3">
    <p:spTree>
      <p:nvGrpSpPr>
        <p:cNvPr id="1" name=""/>
        <p:cNvGrpSpPr/>
        <p:nvPr/>
      </p:nvGrpSpPr>
      <p:grpSpPr>
        <a:xfrm>
          <a:off x="0" y="0"/>
          <a:ext cx="0" cy="0"/>
          <a:chOff x="0" y="0"/>
          <a:chExt cx="0" cy="0"/>
        </a:xfrm>
      </p:grpSpPr>
      <p:sp>
        <p:nvSpPr>
          <p:cNvPr id="86" name="Title Text"/>
          <p:cNvSpPr txBox="1">
            <a:spLocks noGrp="1"/>
          </p:cNvSpPr>
          <p:nvPr>
            <p:ph type="title"/>
          </p:nvPr>
        </p:nvSpPr>
        <p:spPr>
          <a:xfrm>
            <a:off x="495298" y="536576"/>
            <a:ext cx="4559303" cy="1325564"/>
          </a:xfrm>
          <a:prstGeom prst="rect">
            <a:avLst/>
          </a:prstGeom>
        </p:spPr>
        <p:txBody>
          <a:bodyPr/>
          <a:lstStyle/>
          <a:p>
            <a:r>
              <a:t>Title Text</a:t>
            </a:r>
          </a:p>
        </p:txBody>
      </p:sp>
      <p:sp>
        <p:nvSpPr>
          <p:cNvPr id="87" name="Body Level One…"/>
          <p:cNvSpPr txBox="1">
            <a:spLocks noGrp="1"/>
          </p:cNvSpPr>
          <p:nvPr>
            <p:ph type="body" sz="half" idx="1"/>
          </p:nvPr>
        </p:nvSpPr>
        <p:spPr>
          <a:xfrm>
            <a:off x="5689600" y="2038600"/>
            <a:ext cx="6011861" cy="4186239"/>
          </a:xfrm>
          <a:prstGeom prst="rect">
            <a:avLst/>
          </a:prstGeom>
        </p:spPr>
        <p:txBody>
          <a:bodyPr/>
          <a:lstStyle>
            <a:lvl1pPr marL="457200" indent="-381000">
              <a:buClr>
                <a:srgbClr val="18A1AB"/>
              </a:buClr>
              <a:buSzPts val="2400"/>
              <a:buFont typeface="Arial"/>
              <a:buChar char="•"/>
            </a:lvl1pPr>
            <a:lvl2pPr>
              <a:buClr>
                <a:srgbClr val="18A1AB"/>
              </a:buClr>
              <a:buFont typeface="Arial"/>
            </a:lvl2pPr>
            <a:lvl3pPr>
              <a:buClr>
                <a:srgbClr val="18A1AB"/>
              </a:buClr>
              <a:buFont typeface="Arial"/>
            </a:lvl3pPr>
            <a:lvl4pPr>
              <a:buClr>
                <a:srgbClr val="18A1AB"/>
              </a:buClr>
              <a:buFont typeface="Arial"/>
            </a:lvl4pPr>
            <a:lvl5pPr>
              <a:buClr>
                <a:srgbClr val="18A1AB"/>
              </a:buClr>
              <a:buFont typeface="Arial"/>
            </a:lvl5pPr>
          </a:lstStyle>
          <a:p>
            <a:r>
              <a:t>Body Level One</a:t>
            </a:r>
          </a:p>
          <a:p>
            <a:pPr lvl="1"/>
            <a:r>
              <a:t>Body Level Two</a:t>
            </a:r>
          </a:p>
          <a:p>
            <a:pPr lvl="2"/>
            <a:r>
              <a:t>Body Level Three</a:t>
            </a:r>
          </a:p>
          <a:p>
            <a:pPr lvl="3"/>
            <a:r>
              <a:t>Body Level Four</a:t>
            </a:r>
          </a:p>
          <a:p>
            <a:pPr lvl="4"/>
            <a:r>
              <a:t>Body Level Five</a:t>
            </a:r>
          </a:p>
        </p:txBody>
      </p:sp>
      <p:sp>
        <p:nvSpPr>
          <p:cNvPr id="88" name="Google Shape;70;p17"/>
          <p:cNvSpPr txBox="1">
            <a:spLocks noGrp="1"/>
          </p:cNvSpPr>
          <p:nvPr>
            <p:ph type="body" sz="half" idx="21"/>
          </p:nvPr>
        </p:nvSpPr>
        <p:spPr>
          <a:xfrm>
            <a:off x="495298" y="2038600"/>
            <a:ext cx="4559303" cy="4186239"/>
          </a:xfrm>
          <a:prstGeom prst="rect">
            <a:avLst/>
          </a:prstGeom>
        </p:spPr>
        <p:txBody>
          <a:bodyPr/>
          <a:lstStyle/>
          <a:p>
            <a:endParaRPr/>
          </a:p>
        </p:txBody>
      </p:sp>
      <p:sp>
        <p:nvSpPr>
          <p:cNvPr id="90" name="Slide Number"/>
          <p:cNvSpPr txBox="1">
            <a:spLocks noGrp="1"/>
          </p:cNvSpPr>
          <p:nvPr>
            <p:ph type="sldNum" sz="quarter" idx="2"/>
          </p:nvPr>
        </p:nvSpPr>
        <p:spPr>
          <a:prstGeom prst="rect">
            <a:avLst/>
          </a:prstGeom>
        </p:spPr>
        <p:txBody>
          <a:bodyPr/>
          <a:lstStyle/>
          <a:p>
            <a:fld id="{86CB4B4D-7CA3-9044-876B-883B54F8677D}" type="slidenum">
              <a:t>‹#›</a:t>
            </a:fld>
            <a:endParaRPr/>
          </a:p>
        </p:txBody>
      </p:sp>
      <p:grpSp>
        <p:nvGrpSpPr>
          <p:cNvPr id="2" name="Group 1">
            <a:extLst>
              <a:ext uri="{FF2B5EF4-FFF2-40B4-BE49-F238E27FC236}">
                <a16:creationId xmlns:a16="http://schemas.microsoft.com/office/drawing/2014/main" id="{A1A26822-6FAF-9199-0C13-2C1D10F7661A}"/>
              </a:ext>
            </a:extLst>
          </p:cNvPr>
          <p:cNvGrpSpPr/>
          <p:nvPr userDrawn="1"/>
        </p:nvGrpSpPr>
        <p:grpSpPr>
          <a:xfrm>
            <a:off x="10238994" y="-152938"/>
            <a:ext cx="2580510" cy="2004888"/>
            <a:chOff x="10238994" y="-152938"/>
            <a:chExt cx="2580510" cy="2004888"/>
          </a:xfrm>
        </p:grpSpPr>
        <p:pic>
          <p:nvPicPr>
            <p:cNvPr id="3" name="Picture 2" descr="A picture containing weapon, spring, wave&#10;&#10;Description automatically generated">
              <a:extLst>
                <a:ext uri="{FF2B5EF4-FFF2-40B4-BE49-F238E27FC236}">
                  <a16:creationId xmlns:a16="http://schemas.microsoft.com/office/drawing/2014/main" id="{68646CF8-F4D9-7F3B-2577-9BEC675C89C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4" name="Picture 3" descr="Icon&#10;&#10;Description automatically generated">
              <a:extLst>
                <a:ext uri="{FF2B5EF4-FFF2-40B4-BE49-F238E27FC236}">
                  <a16:creationId xmlns:a16="http://schemas.microsoft.com/office/drawing/2014/main" id="{56D2192B-9B9C-C643-D9D4-0583CFDD5553}"/>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25579198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1062997-4BF2-89FC-5930-B0A8FD23692F}"/>
              </a:ext>
            </a:extLst>
          </p:cNvPr>
          <p:cNvSpPr>
            <a:spLocks noGrp="1"/>
          </p:cNvSpPr>
          <p:nvPr>
            <p:ph type="title" hasCustomPrompt="1"/>
          </p:nvPr>
        </p:nvSpPr>
        <p:spPr>
          <a:xfrm>
            <a:off x="609600" y="365125"/>
            <a:ext cx="10972800" cy="731520"/>
          </a:xfrm>
          <a:prstGeom prst="rect">
            <a:avLst/>
          </a:prstGeom>
        </p:spPr>
        <p:txBody>
          <a:bodyPr/>
          <a:lstStyle/>
          <a:p>
            <a:r>
              <a:rPr lang="en-US"/>
              <a:t>Click to edit title</a:t>
            </a:r>
          </a:p>
        </p:txBody>
      </p:sp>
      <p:sp>
        <p:nvSpPr>
          <p:cNvPr id="10" name="Date Placeholder 9">
            <a:extLst>
              <a:ext uri="{FF2B5EF4-FFF2-40B4-BE49-F238E27FC236}">
                <a16:creationId xmlns:a16="http://schemas.microsoft.com/office/drawing/2014/main" id="{1D65421D-E3A4-4852-D953-0A264E694502}"/>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11" name="Footer Placeholder 10">
            <a:extLst>
              <a:ext uri="{FF2B5EF4-FFF2-40B4-BE49-F238E27FC236}">
                <a16:creationId xmlns:a16="http://schemas.microsoft.com/office/drawing/2014/main" id="{31E6FDBE-74F2-F8C9-3408-63C48E4DD8B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12" name="Slide Number Placeholder 11">
            <a:extLst>
              <a:ext uri="{FF2B5EF4-FFF2-40B4-BE49-F238E27FC236}">
                <a16:creationId xmlns:a16="http://schemas.microsoft.com/office/drawing/2014/main" id="{812F1C7B-3B43-EF99-BCBA-287B3D8AFE8B}"/>
              </a:ext>
            </a:extLst>
          </p:cNvPr>
          <p:cNvSpPr>
            <a:spLocks noGrp="1"/>
          </p:cNvSpPr>
          <p:nvPr>
            <p:ph type="sldNum" sz="quarter" idx="12"/>
          </p:nvPr>
        </p:nvSpPr>
        <p:spPr>
          <a:xfrm>
            <a:off x="8610600" y="6356350"/>
            <a:ext cx="2743200" cy="365125"/>
          </a:xfrm>
          <a:prstGeom prst="rect">
            <a:avLst/>
          </a:prstGeom>
        </p:spPr>
        <p:txBody>
          <a:bodyPr/>
          <a:lstStyle/>
          <a:p>
            <a:fld id="{48F63A3B-78C7-47BE-AE5E-E10140E04643}" type="slidenum">
              <a:rPr lang="en-US" smtClean="0"/>
              <a:t>‹#›</a:t>
            </a:fld>
            <a:endParaRPr lang="en-US"/>
          </a:p>
        </p:txBody>
      </p:sp>
      <p:sp>
        <p:nvSpPr>
          <p:cNvPr id="15" name="Content Placeholder 14">
            <a:extLst>
              <a:ext uri="{FF2B5EF4-FFF2-40B4-BE49-F238E27FC236}">
                <a16:creationId xmlns:a16="http://schemas.microsoft.com/office/drawing/2014/main" id="{670D4868-7DEA-5976-3803-0C9FC3434958}"/>
              </a:ext>
            </a:extLst>
          </p:cNvPr>
          <p:cNvSpPr>
            <a:spLocks noGrp="1"/>
          </p:cNvSpPr>
          <p:nvPr>
            <p:ph sz="quarter" idx="13" hasCustomPrompt="1"/>
          </p:nvPr>
        </p:nvSpPr>
        <p:spPr>
          <a:xfrm>
            <a:off x="609601" y="1350963"/>
            <a:ext cx="5212080" cy="4749800"/>
          </a:xfrm>
          <a:prstGeom prst="rect">
            <a:avLst/>
          </a:prstGeo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a:extLst>
              <a:ext uri="{FF2B5EF4-FFF2-40B4-BE49-F238E27FC236}">
                <a16:creationId xmlns:a16="http://schemas.microsoft.com/office/drawing/2014/main" id="{7CF10815-7398-4E9D-9ECB-95EAD077978E}"/>
              </a:ext>
            </a:extLst>
          </p:cNvPr>
          <p:cNvSpPr>
            <a:spLocks noGrp="1"/>
          </p:cNvSpPr>
          <p:nvPr>
            <p:ph sz="quarter" idx="14" hasCustomPrompt="1"/>
          </p:nvPr>
        </p:nvSpPr>
        <p:spPr>
          <a:xfrm>
            <a:off x="6370319" y="1350963"/>
            <a:ext cx="5212080" cy="4749800"/>
          </a:xfrm>
          <a:prstGeom prst="rect">
            <a:avLst/>
          </a:prstGeo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94282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5D2A9B0E-7619-EF13-8A3D-560A13FA6AAF}"/>
              </a:ext>
            </a:extLst>
          </p:cNvPr>
          <p:cNvSpPr>
            <a:spLocks noGrp="1"/>
          </p:cNvSpPr>
          <p:nvPr>
            <p:ph sz="quarter" idx="13" hasCustomPrompt="1"/>
          </p:nvPr>
        </p:nvSpPr>
        <p:spPr>
          <a:xfrm>
            <a:off x="609600" y="1351694"/>
            <a:ext cx="10972800" cy="4749607"/>
          </a:xfrm>
          <a:prstGeom prst="rect">
            <a:avLst/>
          </a:prstGeo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48F63A3B-78C7-47BE-AE5E-E10140E04643}" type="slidenum">
              <a:rPr lang="en-US" dirty="0"/>
              <a:t>‹#›</a:t>
            </a:fld>
            <a:endParaRPr lang="en-US"/>
          </a:p>
        </p:txBody>
      </p:sp>
      <p:sp>
        <p:nvSpPr>
          <p:cNvPr id="11" name="Title 10">
            <a:extLst>
              <a:ext uri="{FF2B5EF4-FFF2-40B4-BE49-F238E27FC236}">
                <a16:creationId xmlns:a16="http://schemas.microsoft.com/office/drawing/2014/main" id="{01AEADF5-C709-353D-8199-ED8985C6ED79}"/>
              </a:ext>
            </a:extLst>
          </p:cNvPr>
          <p:cNvSpPr>
            <a:spLocks noGrp="1"/>
          </p:cNvSpPr>
          <p:nvPr>
            <p:ph type="title" hasCustomPrompt="1"/>
          </p:nvPr>
        </p:nvSpPr>
        <p:spPr>
          <a:xfrm>
            <a:off x="609600" y="365125"/>
            <a:ext cx="10972800" cy="731520"/>
          </a:xfrm>
          <a:prstGeom prst="rect">
            <a:avLst/>
          </a:prstGeom>
        </p:spPr>
        <p:txBody>
          <a:bodyPr/>
          <a:lstStyle/>
          <a:p>
            <a:r>
              <a:rPr lang="en-US"/>
              <a:t>Click to edit title</a:t>
            </a:r>
          </a:p>
        </p:txBody>
      </p:sp>
    </p:spTree>
    <p:extLst>
      <p:ext uri="{BB962C8B-B14F-4D97-AF65-F5344CB8AC3E}">
        <p14:creationId xmlns:p14="http://schemas.microsoft.com/office/powerpoint/2010/main" val="197997370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057BB3F-24B1-AC5F-2AE3-5ED72BFB9B86}"/>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9F998EB8-CF10-9C23-1E64-E71E4F6BEA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18B98223-7C84-596B-0FBD-F8CE73C198E0}"/>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
        <p:nvSpPr>
          <p:cNvPr id="2" name="Title 1">
            <a:extLst>
              <a:ext uri="{FF2B5EF4-FFF2-40B4-BE49-F238E27FC236}">
                <a16:creationId xmlns:a16="http://schemas.microsoft.com/office/drawing/2014/main" id="{12B9F7FE-BA4B-BE15-F512-9ADF80C98517}"/>
              </a:ext>
            </a:extLst>
          </p:cNvPr>
          <p:cNvSpPr>
            <a:spLocks noGrp="1"/>
          </p:cNvSpPr>
          <p:nvPr>
            <p:ph type="title" hasCustomPrompt="1"/>
          </p:nvPr>
        </p:nvSpPr>
        <p:spPr>
          <a:xfrm>
            <a:off x="606581" y="443114"/>
            <a:ext cx="10974916" cy="968997"/>
          </a:xfrm>
          <a:prstGeom prst="rect">
            <a:avLst/>
          </a:prstGeom>
        </p:spPr>
        <p:txBody>
          <a:bodyPr lIns="0" tIns="0" rIns="0" bIns="0" anchor="b"/>
          <a:lstStyle>
            <a:lvl1pPr>
              <a:defRPr/>
            </a:lvl1pPr>
          </a:lstStyle>
          <a:p>
            <a:r>
              <a:rPr lang="en-US"/>
              <a:t>Click to edit </a:t>
            </a:r>
            <a:br>
              <a:rPr lang="en-US"/>
            </a:br>
            <a:r>
              <a:rPr lang="en-US"/>
              <a:t>Master title style</a:t>
            </a:r>
          </a:p>
        </p:txBody>
      </p:sp>
      <p:cxnSp>
        <p:nvCxnSpPr>
          <p:cNvPr id="6" name="Straight Connector 5">
            <a:extLst>
              <a:ext uri="{FF2B5EF4-FFF2-40B4-BE49-F238E27FC236}">
                <a16:creationId xmlns:a16="http://schemas.microsoft.com/office/drawing/2014/main" id="{7949C012-A516-F7A4-42F6-133353606AD2}"/>
              </a:ext>
            </a:extLst>
          </p:cNvPr>
          <p:cNvCxnSpPr>
            <a:cxnSpLocks/>
          </p:cNvCxnSpPr>
          <p:nvPr userDrawn="1"/>
        </p:nvCxnSpPr>
        <p:spPr>
          <a:xfrm>
            <a:off x="620869" y="1521371"/>
            <a:ext cx="432162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3609717"/>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Disposition personnalisée">
  <p:cSld name="1_Disposition personnalisée">
    <p:spTree>
      <p:nvGrpSpPr>
        <p:cNvPr id="1" name="Shape 45"/>
        <p:cNvGrpSpPr/>
        <p:nvPr/>
      </p:nvGrpSpPr>
      <p:grpSpPr>
        <a:xfrm>
          <a:off x="0" y="0"/>
          <a:ext cx="0" cy="0"/>
          <a:chOff x="0" y="0"/>
          <a:chExt cx="0" cy="0"/>
        </a:xfrm>
      </p:grpSpPr>
      <p:sp>
        <p:nvSpPr>
          <p:cNvPr id="46" name="Google Shape;46;p13"/>
          <p:cNvSpPr txBox="1">
            <a:spLocks noGrp="1"/>
          </p:cNvSpPr>
          <p:nvPr>
            <p:ph type="title"/>
          </p:nvPr>
        </p:nvSpPr>
        <p:spPr>
          <a:xfrm>
            <a:off x="495299" y="536577"/>
            <a:ext cx="11206162"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D202F"/>
              </a:buClr>
              <a:buSzPts val="3500"/>
              <a:buFont typeface="Arial"/>
              <a:buNone/>
              <a:defRPr sz="35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 name="Google Shape;50;p13"/>
          <p:cNvSpPr txBox="1">
            <a:spLocks noGrp="1"/>
          </p:cNvSpPr>
          <p:nvPr>
            <p:ph type="body" idx="1"/>
          </p:nvPr>
        </p:nvSpPr>
        <p:spPr>
          <a:xfrm>
            <a:off x="495299" y="2038601"/>
            <a:ext cx="11206162" cy="418623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18A1AB"/>
              </a:buClr>
              <a:buSzPts val="24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 name="Group 5">
            <a:extLst>
              <a:ext uri="{FF2B5EF4-FFF2-40B4-BE49-F238E27FC236}">
                <a16:creationId xmlns:a16="http://schemas.microsoft.com/office/drawing/2014/main" id="{0E1CF0C9-568F-2541-5D38-5A5FF5986AE1}"/>
              </a:ext>
            </a:extLst>
          </p:cNvPr>
          <p:cNvGrpSpPr/>
          <p:nvPr userDrawn="1"/>
        </p:nvGrpSpPr>
        <p:grpSpPr>
          <a:xfrm>
            <a:off x="9785418" y="4651885"/>
            <a:ext cx="2406584" cy="2217690"/>
            <a:chOff x="9785418" y="4640310"/>
            <a:chExt cx="2406584" cy="2217690"/>
          </a:xfrm>
        </p:grpSpPr>
        <p:pic>
          <p:nvPicPr>
            <p:cNvPr id="7" name="Picture 6" descr="A picture containing wave, spring, day&#10;&#10;Description automatically generated">
              <a:extLst>
                <a:ext uri="{FF2B5EF4-FFF2-40B4-BE49-F238E27FC236}">
                  <a16:creationId xmlns:a16="http://schemas.microsoft.com/office/drawing/2014/main" id="{FDA574C3-5DE6-B43D-7F65-0896E91D70E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a:off x="9879865" y="4545863"/>
              <a:ext cx="2217689" cy="2406584"/>
            </a:xfrm>
            <a:prstGeom prst="rect">
              <a:avLst/>
            </a:prstGeom>
          </p:spPr>
        </p:pic>
        <p:pic>
          <p:nvPicPr>
            <p:cNvPr id="8" name="Picture 7">
              <a:extLst>
                <a:ext uri="{FF2B5EF4-FFF2-40B4-BE49-F238E27FC236}">
                  <a16:creationId xmlns:a16="http://schemas.microsoft.com/office/drawing/2014/main" id="{578E6A7A-4EBB-2C8E-5270-FEAFB5CA62E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153" y="5031782"/>
              <a:ext cx="1060847" cy="1826218"/>
            </a:xfrm>
            <a:prstGeom prst="rect">
              <a:avLst/>
            </a:prstGeom>
          </p:spPr>
        </p:pic>
        <p:pic>
          <p:nvPicPr>
            <p:cNvPr id="10" name="Picture 9" descr="A picture containing round&#10;&#10;Description automatically generated">
              <a:extLst>
                <a:ext uri="{FF2B5EF4-FFF2-40B4-BE49-F238E27FC236}">
                  <a16:creationId xmlns:a16="http://schemas.microsoft.com/office/drawing/2014/main" id="{1840CD53-BB30-A7A1-BA31-AF3B91637E6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878342" y="6348415"/>
              <a:ext cx="823119" cy="509585"/>
            </a:xfrm>
            <a:prstGeom prst="rect">
              <a:avLst/>
            </a:prstGeom>
          </p:spPr>
        </p:pic>
      </p:grpSp>
    </p:spTree>
    <p:extLst>
      <p:ext uri="{BB962C8B-B14F-4D97-AF65-F5344CB8AC3E}">
        <p14:creationId xmlns:p14="http://schemas.microsoft.com/office/powerpoint/2010/main" val="1871061013"/>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275">
          <p15:clr>
            <a:srgbClr val="FBAE40"/>
          </p15:clr>
        </p15:guide>
        <p15:guide id="3" orient="horz" pos="3906">
          <p15:clr>
            <a:srgbClr val="FBAE40"/>
          </p15:clr>
        </p15:guide>
        <p15:guide id="4" orient="horz" pos="323">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x">
  <p:cSld name="3_Vide">
    <p:spTree>
      <p:nvGrpSpPr>
        <p:cNvPr id="1" name=""/>
        <p:cNvGrpSpPr/>
        <p:nvPr/>
      </p:nvGrpSpPr>
      <p:grpSpPr>
        <a:xfrm>
          <a:off x="0" y="0"/>
          <a:ext cx="0" cy="0"/>
          <a:chOff x="0" y="0"/>
          <a:chExt cx="0" cy="0"/>
        </a:xfrm>
      </p:grpSpPr>
      <p:sp>
        <p:nvSpPr>
          <p:cNvPr id="509" name="Title Text"/>
          <p:cNvSpPr txBox="1">
            <a:spLocks noGrp="1"/>
          </p:cNvSpPr>
          <p:nvPr>
            <p:ph type="title"/>
          </p:nvPr>
        </p:nvSpPr>
        <p:spPr>
          <a:xfrm>
            <a:off x="495298" y="536576"/>
            <a:ext cx="4559303" cy="1325564"/>
          </a:xfrm>
          <a:prstGeom prst="rect">
            <a:avLst/>
          </a:prstGeom>
        </p:spPr>
        <p:txBody>
          <a:bodyPr/>
          <a:lstStyle/>
          <a:p>
            <a:r>
              <a:t>Title Text</a:t>
            </a:r>
          </a:p>
        </p:txBody>
      </p:sp>
      <p:sp>
        <p:nvSpPr>
          <p:cNvPr id="510" name="Body Level One…"/>
          <p:cNvSpPr txBox="1">
            <a:spLocks noGrp="1"/>
          </p:cNvSpPr>
          <p:nvPr>
            <p:ph type="body" sz="half" idx="1"/>
          </p:nvPr>
        </p:nvSpPr>
        <p:spPr>
          <a:xfrm>
            <a:off x="5689600" y="2038600"/>
            <a:ext cx="6011861" cy="4186239"/>
          </a:xfrm>
          <a:prstGeom prst="rect">
            <a:avLst/>
          </a:prstGeom>
        </p:spPr>
        <p:txBody>
          <a:bodyPr/>
          <a:lstStyle>
            <a:lvl1pPr marL="457200" indent="-381000">
              <a:buClr>
                <a:srgbClr val="18A1AB"/>
              </a:buClr>
              <a:buSzPts val="2400"/>
              <a:buFont typeface="Arial"/>
              <a:buChar char="•"/>
            </a:lvl1pPr>
            <a:lvl2pPr>
              <a:buClr>
                <a:srgbClr val="18A1AB"/>
              </a:buClr>
              <a:buFont typeface="Arial"/>
            </a:lvl2pPr>
            <a:lvl3pPr>
              <a:buClr>
                <a:srgbClr val="18A1AB"/>
              </a:buClr>
              <a:buFont typeface="Arial"/>
            </a:lvl3pPr>
            <a:lvl4pPr>
              <a:buClr>
                <a:srgbClr val="18A1AB"/>
              </a:buClr>
              <a:buFont typeface="Arial"/>
            </a:lvl4pPr>
            <a:lvl5pPr>
              <a:buClr>
                <a:srgbClr val="18A1AB"/>
              </a:buClr>
              <a:buFont typeface="Arial"/>
            </a:lvl5pPr>
          </a:lstStyle>
          <a:p>
            <a:r>
              <a:t>Body Level One</a:t>
            </a:r>
          </a:p>
          <a:p>
            <a:pPr lvl="1"/>
            <a:r>
              <a:t>Body Level Two</a:t>
            </a:r>
          </a:p>
          <a:p>
            <a:pPr lvl="2"/>
            <a:r>
              <a:t>Body Level Three</a:t>
            </a:r>
          </a:p>
          <a:p>
            <a:pPr lvl="3"/>
            <a:r>
              <a:t>Body Level Four</a:t>
            </a:r>
          </a:p>
          <a:p>
            <a:pPr lvl="4"/>
            <a:r>
              <a:t>Body Level Five</a:t>
            </a:r>
          </a:p>
        </p:txBody>
      </p:sp>
      <p:sp>
        <p:nvSpPr>
          <p:cNvPr id="511" name="Google Shape;70;p17"/>
          <p:cNvSpPr txBox="1">
            <a:spLocks noGrp="1"/>
          </p:cNvSpPr>
          <p:nvPr>
            <p:ph type="body" sz="half" idx="21"/>
          </p:nvPr>
        </p:nvSpPr>
        <p:spPr>
          <a:xfrm>
            <a:off x="495298" y="2038600"/>
            <a:ext cx="4559303" cy="4186239"/>
          </a:xfrm>
          <a:prstGeom prst="rect">
            <a:avLst/>
          </a:prstGeom>
        </p:spPr>
        <p:txBody>
          <a:bodyPr/>
          <a:lstStyle/>
          <a:p>
            <a:endParaRPr/>
          </a:p>
        </p:txBody>
      </p:sp>
      <p:grpSp>
        <p:nvGrpSpPr>
          <p:cNvPr id="3" name="Group 2">
            <a:extLst>
              <a:ext uri="{FF2B5EF4-FFF2-40B4-BE49-F238E27FC236}">
                <a16:creationId xmlns:a16="http://schemas.microsoft.com/office/drawing/2014/main" id="{6A3DDD78-9083-8F9D-E36C-CFA010E1CAEF}"/>
              </a:ext>
            </a:extLst>
          </p:cNvPr>
          <p:cNvGrpSpPr/>
          <p:nvPr userDrawn="1"/>
        </p:nvGrpSpPr>
        <p:grpSpPr>
          <a:xfrm>
            <a:off x="10238994" y="-152938"/>
            <a:ext cx="2580510" cy="2004888"/>
            <a:chOff x="10238994" y="-152938"/>
            <a:chExt cx="2580510" cy="2004888"/>
          </a:xfrm>
        </p:grpSpPr>
        <p:pic>
          <p:nvPicPr>
            <p:cNvPr id="4" name="Picture 3" descr="A picture containing weapon, spring, wave&#10;&#10;Description automatically generated">
              <a:extLst>
                <a:ext uri="{FF2B5EF4-FFF2-40B4-BE49-F238E27FC236}">
                  <a16:creationId xmlns:a16="http://schemas.microsoft.com/office/drawing/2014/main" id="{A179492D-7178-D13B-5F35-49BA4369E7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238994" y="0"/>
              <a:ext cx="1953006" cy="1851950"/>
            </a:xfrm>
            <a:prstGeom prst="rect">
              <a:avLst/>
            </a:prstGeom>
          </p:spPr>
        </p:pic>
        <p:pic>
          <p:nvPicPr>
            <p:cNvPr id="5" name="Picture 4" descr="Icon&#10;&#10;Description automatically generated">
              <a:extLst>
                <a:ext uri="{FF2B5EF4-FFF2-40B4-BE49-F238E27FC236}">
                  <a16:creationId xmlns:a16="http://schemas.microsoft.com/office/drawing/2014/main" id="{47AE883F-FC66-AB9D-47A1-66F384CAED79}"/>
                </a:ext>
              </a:extLst>
            </p:cNvPr>
            <p:cNvPicPr>
              <a:picLocks noChangeAspect="1"/>
            </p:cNvPicPr>
            <p:nvPr userDrawn="1"/>
          </p:nvPicPr>
          <p:blipFill rotWithShape="1">
            <a:blip r:embed="rId3" cstate="print">
              <a:alphaModFix amt="80000"/>
              <a:extLst>
                <a:ext uri="{28A0092B-C50C-407E-A947-70E740481C1C}">
                  <a14:useLocalDpi xmlns:a14="http://schemas.microsoft.com/office/drawing/2010/main"/>
                </a:ext>
              </a:extLst>
            </a:blip>
            <a:srcRect l="23005" t="15684" r="24805" b="16373"/>
            <a:stretch/>
          </p:blipFill>
          <p:spPr>
            <a:xfrm rot="3824881">
              <a:off x="11277368" y="-355154"/>
              <a:ext cx="1339920" cy="1744352"/>
            </a:xfrm>
            <a:prstGeom prst="rect">
              <a:avLst/>
            </a:prstGeom>
          </p:spPr>
        </p:pic>
      </p:grpSp>
    </p:spTree>
    <p:extLst>
      <p:ext uri="{BB962C8B-B14F-4D97-AF65-F5344CB8AC3E}">
        <p14:creationId xmlns:p14="http://schemas.microsoft.com/office/powerpoint/2010/main" val="2262089892"/>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tags" Target="../tags/tag2.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image" Target="../media/image1.emf"/><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3.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oleObject" Target="../embeddings/oleObject4.bin"/><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ags" Target="../tags/tag4.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theme" Target="../theme/theme4.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oleObject" Target="../embeddings/oleObject5.bin"/><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tags" Target="../tags/tag5.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theme" Target="../theme/theme5.xml"/><Relationship Id="rId3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tags" Target="../tags/tag6.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theme" Target="../theme/theme6.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image" Target="../media/image1.emf"/><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78.jpeg"/><Relationship Id="rId13" Type="http://schemas.openxmlformats.org/officeDocument/2006/relationships/image" Target="../media/image83.png"/><Relationship Id="rId18" Type="http://schemas.openxmlformats.org/officeDocument/2006/relationships/image" Target="../media/image88.png"/><Relationship Id="rId26" Type="http://schemas.openxmlformats.org/officeDocument/2006/relationships/image" Target="../media/image96.png"/><Relationship Id="rId3" Type="http://schemas.openxmlformats.org/officeDocument/2006/relationships/tags" Target="../tags/tag7.xml"/><Relationship Id="rId21" Type="http://schemas.openxmlformats.org/officeDocument/2006/relationships/image" Target="../media/image91.png"/><Relationship Id="rId7" Type="http://schemas.openxmlformats.org/officeDocument/2006/relationships/image" Target="../media/image77.jpeg"/><Relationship Id="rId12" Type="http://schemas.openxmlformats.org/officeDocument/2006/relationships/image" Target="../media/image82.png"/><Relationship Id="rId17" Type="http://schemas.openxmlformats.org/officeDocument/2006/relationships/image" Target="../media/image87.png"/><Relationship Id="rId25" Type="http://schemas.openxmlformats.org/officeDocument/2006/relationships/image" Target="../media/image95.gif"/><Relationship Id="rId2" Type="http://schemas.openxmlformats.org/officeDocument/2006/relationships/theme" Target="../theme/theme7.xml"/><Relationship Id="rId16" Type="http://schemas.openxmlformats.org/officeDocument/2006/relationships/image" Target="../media/image86.png"/><Relationship Id="rId20" Type="http://schemas.openxmlformats.org/officeDocument/2006/relationships/image" Target="../media/image90.png"/><Relationship Id="rId29" Type="http://schemas.openxmlformats.org/officeDocument/2006/relationships/image" Target="../media/image99.png"/><Relationship Id="rId1" Type="http://schemas.openxmlformats.org/officeDocument/2006/relationships/slideLayout" Target="../slideLayouts/slideLayout117.xml"/><Relationship Id="rId6" Type="http://schemas.openxmlformats.org/officeDocument/2006/relationships/image" Target="../media/image76.jpe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1.emf"/><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image" Target="../media/image98.jpeg"/><Relationship Id="rId10" Type="http://schemas.openxmlformats.org/officeDocument/2006/relationships/image" Target="../media/image80.png"/><Relationship Id="rId19" Type="http://schemas.openxmlformats.org/officeDocument/2006/relationships/image" Target="../media/image89.png"/><Relationship Id="rId31" Type="http://schemas.openxmlformats.org/officeDocument/2006/relationships/image" Target="../media/image101.png"/><Relationship Id="rId4" Type="http://schemas.openxmlformats.org/officeDocument/2006/relationships/oleObject" Target="../embeddings/oleObject7.bin"/><Relationship Id="rId9" Type="http://schemas.openxmlformats.org/officeDocument/2006/relationships/image" Target="../media/image79.png"/><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97.jpeg"/><Relationship Id="rId30" Type="http://schemas.openxmlformats.org/officeDocument/2006/relationships/image" Target="../media/image10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33741DB-79AD-5C0E-F097-032154832546}"/>
              </a:ext>
            </a:extLst>
          </p:cNvPr>
          <p:cNvGraphicFramePr>
            <a:graphicFrameLocks noChangeAspect="1"/>
          </p:cNvGraphicFramePr>
          <p:nvPr userDrawn="1">
            <p:custDataLst>
              <p:tags r:id="rId29"/>
            </p:custDataLst>
            <p:extLst>
              <p:ext uri="{D42A27DB-BD31-4B8C-83A1-F6EECF244321}">
                <p14:modId xmlns:p14="http://schemas.microsoft.com/office/powerpoint/2010/main" val="981886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 name="think-cell data - do not delete" hidden="1">
                        <a:extLst>
                          <a:ext uri="{FF2B5EF4-FFF2-40B4-BE49-F238E27FC236}">
                            <a16:creationId xmlns:a16="http://schemas.microsoft.com/office/drawing/2014/main" id="{533741DB-79AD-5C0E-F097-032154832546}"/>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3609378"/>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8" r:id="rId9"/>
    <p:sldLayoutId id="2147483679" r:id="rId10"/>
    <p:sldLayoutId id="2147483685" r:id="rId11"/>
    <p:sldLayoutId id="2147483686" r:id="rId12"/>
    <p:sldLayoutId id="2147483687" r:id="rId13"/>
    <p:sldLayoutId id="2147483689" r:id="rId14"/>
    <p:sldLayoutId id="2147483690" r:id="rId15"/>
    <p:sldLayoutId id="2147483663" r:id="rId16"/>
    <p:sldLayoutId id="2147483664" r:id="rId17"/>
    <p:sldLayoutId id="2147483727" r:id="rId18"/>
    <p:sldLayoutId id="2147483735" r:id="rId19"/>
    <p:sldLayoutId id="2147483744" r:id="rId20"/>
    <p:sldLayoutId id="2147483926" r:id="rId21"/>
    <p:sldLayoutId id="2147483928" r:id="rId22"/>
    <p:sldLayoutId id="2147483930" r:id="rId23"/>
    <p:sldLayoutId id="2147483937" r:id="rId24"/>
    <p:sldLayoutId id="2147485729" r:id="rId25"/>
    <p:sldLayoutId id="2147485732" r:id="rId26"/>
    <p:sldLayoutId id="2147485733" r:id="rId27"/>
  </p:sldLayoutIdLst>
  <p:hf hdr="0" ftr="0" dt="0"/>
  <p:txStyles>
    <p:titleStyle>
      <a:lvl1pPr algn="l" defTabSz="914400" rtl="0" eaLnBrk="1" latinLnBrk="0" hangingPunct="1">
        <a:lnSpc>
          <a:spcPct val="90000"/>
        </a:lnSpc>
        <a:spcBef>
          <a:spcPct val="0"/>
        </a:spcBef>
        <a:buNone/>
        <a:defRPr sz="3500" b="1" kern="1200">
          <a:solidFill>
            <a:srgbClr val="0D1F2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16">
          <p15:clr>
            <a:srgbClr val="F26B43"/>
          </p15:clr>
        </p15:guide>
        <p15:guide id="2" orient="horz" pos="1432">
          <p15:clr>
            <a:srgbClr val="F26B43"/>
          </p15:clr>
        </p15:guide>
        <p15:guide id="3" orient="horz" pos="1512">
          <p15:clr>
            <a:srgbClr val="F26B43"/>
          </p15:clr>
        </p15:guide>
        <p15:guide id="4" orient="horz" pos="1928">
          <p15:clr>
            <a:srgbClr val="F26B43"/>
          </p15:clr>
        </p15:guide>
        <p15:guide id="5" orient="horz" pos="2008">
          <p15:clr>
            <a:srgbClr val="F26B43"/>
          </p15:clr>
        </p15:guide>
        <p15:guide id="6" orient="horz" pos="2408">
          <p15:clr>
            <a:srgbClr val="F26B43"/>
          </p15:clr>
        </p15:guide>
        <p15:guide id="7" orient="horz" pos="2504">
          <p15:clr>
            <a:srgbClr val="F26B43"/>
          </p15:clr>
        </p15:guide>
        <p15:guide id="8" orient="horz" pos="2920">
          <p15:clr>
            <a:srgbClr val="F26B43"/>
          </p15:clr>
        </p15:guide>
        <p15:guide id="9" orient="horz" pos="3000">
          <p15:clr>
            <a:srgbClr val="F26B43"/>
          </p15:clr>
        </p15:guide>
        <p15:guide id="10" orient="horz" pos="3416">
          <p15:clr>
            <a:srgbClr val="F26B43"/>
          </p15:clr>
        </p15:guide>
        <p15:guide id="11" orient="horz" pos="3496">
          <p15:clr>
            <a:srgbClr val="F26B43"/>
          </p15:clr>
        </p15:guide>
        <p15:guide id="12" orient="horz" pos="3904">
          <p15:clr>
            <a:srgbClr val="F26B43"/>
          </p15:clr>
        </p15:guide>
        <p15:guide id="13" pos="392">
          <p15:clr>
            <a:srgbClr val="F26B43"/>
          </p15:clr>
        </p15:guide>
        <p15:guide id="14" pos="888">
          <p15:clr>
            <a:srgbClr val="F26B43"/>
          </p15:clr>
        </p15:guide>
        <p15:guide id="15" pos="968">
          <p15:clr>
            <a:srgbClr val="F26B43"/>
          </p15:clr>
        </p15:guide>
        <p15:guide id="16" pos="1472">
          <p15:clr>
            <a:srgbClr val="F26B43"/>
          </p15:clr>
        </p15:guide>
        <p15:guide id="17" pos="1552">
          <p15:clr>
            <a:srgbClr val="F26B43"/>
          </p15:clr>
        </p15:guide>
        <p15:guide id="18" pos="2048">
          <p15:clr>
            <a:srgbClr val="F26B43"/>
          </p15:clr>
        </p15:guide>
        <p15:guide id="19" pos="2128">
          <p15:clr>
            <a:srgbClr val="F26B43"/>
          </p15:clr>
        </p15:guide>
        <p15:guide id="20" pos="2632">
          <p15:clr>
            <a:srgbClr val="F26B43"/>
          </p15:clr>
        </p15:guide>
        <p15:guide id="21" pos="2712">
          <p15:clr>
            <a:srgbClr val="F26B43"/>
          </p15:clr>
        </p15:guide>
        <p15:guide id="22" pos="3216">
          <p15:clr>
            <a:srgbClr val="F26B43"/>
          </p15:clr>
        </p15:guide>
        <p15:guide id="23" pos="3296">
          <p15:clr>
            <a:srgbClr val="F26B43"/>
          </p15:clr>
        </p15:guide>
        <p15:guide id="24" pos="3792">
          <p15:clr>
            <a:srgbClr val="F26B43"/>
          </p15:clr>
        </p15:guide>
        <p15:guide id="25" pos="3880">
          <p15:clr>
            <a:srgbClr val="F26B43"/>
          </p15:clr>
        </p15:guide>
        <p15:guide id="26" pos="4384">
          <p15:clr>
            <a:srgbClr val="F26B43"/>
          </p15:clr>
        </p15:guide>
        <p15:guide id="27" pos="4464">
          <p15:clr>
            <a:srgbClr val="F26B43"/>
          </p15:clr>
        </p15:guide>
        <p15:guide id="28" pos="4968">
          <p15:clr>
            <a:srgbClr val="F26B43"/>
          </p15:clr>
        </p15:guide>
        <p15:guide id="29" pos="5048">
          <p15:clr>
            <a:srgbClr val="F26B43"/>
          </p15:clr>
        </p15:guide>
        <p15:guide id="30" pos="5544">
          <p15:clr>
            <a:srgbClr val="F26B43"/>
          </p15:clr>
        </p15:guide>
        <p15:guide id="31" pos="5624">
          <p15:clr>
            <a:srgbClr val="F26B43"/>
          </p15:clr>
        </p15:guide>
        <p15:guide id="32" pos="6128">
          <p15:clr>
            <a:srgbClr val="F26B43"/>
          </p15:clr>
        </p15:guide>
        <p15:guide id="33" pos="6208">
          <p15:clr>
            <a:srgbClr val="F26B43"/>
          </p15:clr>
        </p15:guide>
        <p15:guide id="34" pos="6712">
          <p15:clr>
            <a:srgbClr val="F26B43"/>
          </p15:clr>
        </p15:guide>
        <p15:guide id="35" pos="6792">
          <p15:clr>
            <a:srgbClr val="F26B43"/>
          </p15:clr>
        </p15:guide>
        <p15:guide id="36" pos="7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50698D0-0ACC-BCCE-C319-434723BD8E6A}"/>
              </a:ext>
            </a:extLst>
          </p:cNvPr>
          <p:cNvGraphicFramePr>
            <a:graphicFrameLocks noChangeAspect="1"/>
          </p:cNvGraphicFramePr>
          <p:nvPr userDrawn="1">
            <p:custDataLst>
              <p:tags r:id="rId21"/>
            </p:custDataLst>
            <p:extLst>
              <p:ext uri="{D42A27DB-BD31-4B8C-83A1-F6EECF244321}">
                <p14:modId xmlns:p14="http://schemas.microsoft.com/office/powerpoint/2010/main" val="2433233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2" name="think-cell data - do not delete" hidden="1">
                        <a:extLst>
                          <a:ext uri="{FF2B5EF4-FFF2-40B4-BE49-F238E27FC236}">
                            <a16:creationId xmlns:a16="http://schemas.microsoft.com/office/drawing/2014/main" id="{050698D0-0ACC-BCCE-C319-434723BD8E6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34249335"/>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 id="2147484083" r:id="rId13"/>
    <p:sldLayoutId id="2147484085" r:id="rId14"/>
    <p:sldLayoutId id="2147484086" r:id="rId15"/>
    <p:sldLayoutId id="2147484087" r:id="rId16"/>
    <p:sldLayoutId id="2147484088" r:id="rId17"/>
    <p:sldLayoutId id="2147484090" r:id="rId18"/>
    <p:sldLayoutId id="2147484091" r:id="rId19"/>
  </p:sldLayoutIdLst>
  <p:hf hdr="0" ftr="0" dt="0"/>
  <p:txStyles>
    <p:titleStyle>
      <a:lvl1pPr algn="l" defTabSz="914377" rtl="0" eaLnBrk="1" latinLnBrk="0" hangingPunct="1">
        <a:lnSpc>
          <a:spcPct val="90000"/>
        </a:lnSpc>
        <a:spcBef>
          <a:spcPct val="0"/>
        </a:spcBef>
        <a:buNone/>
        <a:defRPr sz="3500" b="1" kern="1200">
          <a:solidFill>
            <a:srgbClr val="0D1F2F"/>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62">
          <p15:clr>
            <a:srgbClr val="F26B43"/>
          </p15:clr>
        </p15:guide>
        <p15:guide id="2" orient="horz" pos="1074">
          <p15:clr>
            <a:srgbClr val="F26B43"/>
          </p15:clr>
        </p15:guide>
        <p15:guide id="3" orient="horz" pos="1134">
          <p15:clr>
            <a:srgbClr val="F26B43"/>
          </p15:clr>
        </p15:guide>
        <p15:guide id="4" orient="horz" pos="1446">
          <p15:clr>
            <a:srgbClr val="F26B43"/>
          </p15:clr>
        </p15:guide>
        <p15:guide id="5" orient="horz" pos="1506">
          <p15:clr>
            <a:srgbClr val="F26B43"/>
          </p15:clr>
        </p15:guide>
        <p15:guide id="6" orient="horz" pos="1806">
          <p15:clr>
            <a:srgbClr val="F26B43"/>
          </p15:clr>
        </p15:guide>
        <p15:guide id="7" orient="horz" pos="1878">
          <p15:clr>
            <a:srgbClr val="F26B43"/>
          </p15:clr>
        </p15:guide>
        <p15:guide id="8" orient="horz" pos="2190">
          <p15:clr>
            <a:srgbClr val="F26B43"/>
          </p15:clr>
        </p15:guide>
        <p15:guide id="9" orient="horz" pos="2250">
          <p15:clr>
            <a:srgbClr val="F26B43"/>
          </p15:clr>
        </p15:guide>
        <p15:guide id="10" orient="horz" pos="2562">
          <p15:clr>
            <a:srgbClr val="F26B43"/>
          </p15:clr>
        </p15:guide>
        <p15:guide id="11" orient="horz" pos="2622">
          <p15:clr>
            <a:srgbClr val="F26B43"/>
          </p15:clr>
        </p15:guide>
        <p15:guide id="12" orient="horz" pos="2928">
          <p15:clr>
            <a:srgbClr val="F26B43"/>
          </p15:clr>
        </p15:guide>
        <p15:guide id="13" pos="294">
          <p15:clr>
            <a:srgbClr val="F26B43"/>
          </p15:clr>
        </p15:guide>
        <p15:guide id="14" pos="666">
          <p15:clr>
            <a:srgbClr val="F26B43"/>
          </p15:clr>
        </p15:guide>
        <p15:guide id="15" pos="726">
          <p15:clr>
            <a:srgbClr val="F26B43"/>
          </p15:clr>
        </p15:guide>
        <p15:guide id="16" pos="1104">
          <p15:clr>
            <a:srgbClr val="F26B43"/>
          </p15:clr>
        </p15:guide>
        <p15:guide id="17" pos="1164">
          <p15:clr>
            <a:srgbClr val="F26B43"/>
          </p15:clr>
        </p15:guide>
        <p15:guide id="18" pos="1536">
          <p15:clr>
            <a:srgbClr val="F26B43"/>
          </p15:clr>
        </p15:guide>
        <p15:guide id="19" pos="1596">
          <p15:clr>
            <a:srgbClr val="F26B43"/>
          </p15:clr>
        </p15:guide>
        <p15:guide id="20" pos="1974">
          <p15:clr>
            <a:srgbClr val="F26B43"/>
          </p15:clr>
        </p15:guide>
        <p15:guide id="21" pos="2034">
          <p15:clr>
            <a:srgbClr val="F26B43"/>
          </p15:clr>
        </p15:guide>
        <p15:guide id="22" pos="2412">
          <p15:clr>
            <a:srgbClr val="F26B43"/>
          </p15:clr>
        </p15:guide>
        <p15:guide id="23" pos="2472">
          <p15:clr>
            <a:srgbClr val="F26B43"/>
          </p15:clr>
        </p15:guide>
        <p15:guide id="24" pos="2844">
          <p15:clr>
            <a:srgbClr val="F26B43"/>
          </p15:clr>
        </p15:guide>
        <p15:guide id="25" pos="2910">
          <p15:clr>
            <a:srgbClr val="F26B43"/>
          </p15:clr>
        </p15:guide>
        <p15:guide id="26" pos="3288">
          <p15:clr>
            <a:srgbClr val="F26B43"/>
          </p15:clr>
        </p15:guide>
        <p15:guide id="27" pos="3348">
          <p15:clr>
            <a:srgbClr val="F26B43"/>
          </p15:clr>
        </p15:guide>
        <p15:guide id="28" pos="3726">
          <p15:clr>
            <a:srgbClr val="F26B43"/>
          </p15:clr>
        </p15:guide>
        <p15:guide id="29" pos="3786">
          <p15:clr>
            <a:srgbClr val="F26B43"/>
          </p15:clr>
        </p15:guide>
        <p15:guide id="30" pos="4158">
          <p15:clr>
            <a:srgbClr val="F26B43"/>
          </p15:clr>
        </p15:guide>
        <p15:guide id="31" pos="4218">
          <p15:clr>
            <a:srgbClr val="F26B43"/>
          </p15:clr>
        </p15:guide>
        <p15:guide id="32" pos="4596">
          <p15:clr>
            <a:srgbClr val="F26B43"/>
          </p15:clr>
        </p15:guide>
        <p15:guide id="33" pos="4656">
          <p15:clr>
            <a:srgbClr val="F26B43"/>
          </p15:clr>
        </p15:guide>
        <p15:guide id="34" pos="5034">
          <p15:clr>
            <a:srgbClr val="F26B43"/>
          </p15:clr>
        </p15:guide>
        <p15:guide id="35" pos="5094">
          <p15:clr>
            <a:srgbClr val="F26B43"/>
          </p15:clr>
        </p15:guide>
        <p15:guide id="36" pos="54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8A94BCE-9F3C-DDFB-7F0A-91B340A05A9E}"/>
              </a:ext>
            </a:extLst>
          </p:cNvPr>
          <p:cNvGraphicFramePr>
            <a:graphicFrameLocks noChangeAspect="1"/>
          </p:cNvGraphicFramePr>
          <p:nvPr userDrawn="1">
            <p:custDataLst>
              <p:tags r:id="rId25"/>
            </p:custDataLst>
            <p:extLst>
              <p:ext uri="{D42A27DB-BD31-4B8C-83A1-F6EECF244321}">
                <p14:modId xmlns:p14="http://schemas.microsoft.com/office/powerpoint/2010/main" val="2932351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04" imgH="405" progId="TCLayout.ActiveDocument.1">
                  <p:embed/>
                </p:oleObj>
              </mc:Choice>
              <mc:Fallback>
                <p:oleObj name="think-cell Slide" r:id="rId26" imgW="404" imgH="405" progId="TCLayout.ActiveDocument.1">
                  <p:embed/>
                  <p:pic>
                    <p:nvPicPr>
                      <p:cNvPr id="2" name="think-cell data - do not delete" hidden="1">
                        <a:extLst>
                          <a:ext uri="{FF2B5EF4-FFF2-40B4-BE49-F238E27FC236}">
                            <a16:creationId xmlns:a16="http://schemas.microsoft.com/office/drawing/2014/main" id="{28A94BCE-9F3C-DDFB-7F0A-91B340A05A9E}"/>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17642846"/>
      </p:ext>
    </p:extLst>
  </p:cSld>
  <p:clrMap bg1="lt1" tx1="dk1" bg2="lt2" tx2="dk2" accent1="accent1" accent2="accent2" accent3="accent3" accent4="accent4" accent5="accent5" accent6="accent6" hlink="hlink" folHlink="folHlink"/>
  <p:sldLayoutIdLst>
    <p:sldLayoutId id="2147485735" r:id="rId1"/>
    <p:sldLayoutId id="2147485736" r:id="rId2"/>
    <p:sldLayoutId id="2147485737" r:id="rId3"/>
    <p:sldLayoutId id="2147485738" r:id="rId4"/>
    <p:sldLayoutId id="2147485739" r:id="rId5"/>
    <p:sldLayoutId id="2147485740" r:id="rId6"/>
    <p:sldLayoutId id="2147485741" r:id="rId7"/>
    <p:sldLayoutId id="2147485742" r:id="rId8"/>
    <p:sldLayoutId id="2147485743" r:id="rId9"/>
    <p:sldLayoutId id="2147485744" r:id="rId10"/>
    <p:sldLayoutId id="2147485745" r:id="rId11"/>
    <p:sldLayoutId id="2147485746" r:id="rId12"/>
    <p:sldLayoutId id="2147485747" r:id="rId13"/>
    <p:sldLayoutId id="2147485748" r:id="rId14"/>
    <p:sldLayoutId id="2147485749" r:id="rId15"/>
    <p:sldLayoutId id="2147485750" r:id="rId16"/>
    <p:sldLayoutId id="2147485751" r:id="rId17"/>
    <p:sldLayoutId id="2147485752" r:id="rId18"/>
    <p:sldLayoutId id="2147485753" r:id="rId19"/>
    <p:sldLayoutId id="2147485754" r:id="rId20"/>
    <p:sldLayoutId id="2147485755" r:id="rId21"/>
    <p:sldLayoutId id="2147485756" r:id="rId22"/>
    <p:sldLayoutId id="2147485757" r:id="rId23"/>
  </p:sldLayoutIdLst>
  <p:txStyles>
    <p:titleStyle>
      <a:lvl1pPr algn="l" defTabSz="914400" rtl="0" eaLnBrk="1" latinLnBrk="0" hangingPunct="1">
        <a:lnSpc>
          <a:spcPct val="90000"/>
        </a:lnSpc>
        <a:spcBef>
          <a:spcPct val="0"/>
        </a:spcBef>
        <a:buNone/>
        <a:defRPr sz="3500" b="1" kern="1200">
          <a:solidFill>
            <a:srgbClr val="0D1F2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16">
          <p15:clr>
            <a:srgbClr val="F26B43"/>
          </p15:clr>
        </p15:guide>
        <p15:guide id="2" orient="horz" pos="1432">
          <p15:clr>
            <a:srgbClr val="F26B43"/>
          </p15:clr>
        </p15:guide>
        <p15:guide id="3" orient="horz" pos="1512">
          <p15:clr>
            <a:srgbClr val="F26B43"/>
          </p15:clr>
        </p15:guide>
        <p15:guide id="4" orient="horz" pos="1928">
          <p15:clr>
            <a:srgbClr val="F26B43"/>
          </p15:clr>
        </p15:guide>
        <p15:guide id="5" orient="horz" pos="2008">
          <p15:clr>
            <a:srgbClr val="F26B43"/>
          </p15:clr>
        </p15:guide>
        <p15:guide id="6" orient="horz" pos="2408">
          <p15:clr>
            <a:srgbClr val="F26B43"/>
          </p15:clr>
        </p15:guide>
        <p15:guide id="7" orient="horz" pos="2504">
          <p15:clr>
            <a:srgbClr val="F26B43"/>
          </p15:clr>
        </p15:guide>
        <p15:guide id="8" orient="horz" pos="2920">
          <p15:clr>
            <a:srgbClr val="F26B43"/>
          </p15:clr>
        </p15:guide>
        <p15:guide id="9" orient="horz" pos="3000">
          <p15:clr>
            <a:srgbClr val="F26B43"/>
          </p15:clr>
        </p15:guide>
        <p15:guide id="10" orient="horz" pos="3416">
          <p15:clr>
            <a:srgbClr val="F26B43"/>
          </p15:clr>
        </p15:guide>
        <p15:guide id="11" orient="horz" pos="3496">
          <p15:clr>
            <a:srgbClr val="F26B43"/>
          </p15:clr>
        </p15:guide>
        <p15:guide id="12" orient="horz" pos="3904">
          <p15:clr>
            <a:srgbClr val="F26B43"/>
          </p15:clr>
        </p15:guide>
        <p15:guide id="13" pos="392">
          <p15:clr>
            <a:srgbClr val="F26B43"/>
          </p15:clr>
        </p15:guide>
        <p15:guide id="14" pos="888">
          <p15:clr>
            <a:srgbClr val="F26B43"/>
          </p15:clr>
        </p15:guide>
        <p15:guide id="15" pos="968">
          <p15:clr>
            <a:srgbClr val="F26B43"/>
          </p15:clr>
        </p15:guide>
        <p15:guide id="16" pos="1472">
          <p15:clr>
            <a:srgbClr val="F26B43"/>
          </p15:clr>
        </p15:guide>
        <p15:guide id="17" pos="1552">
          <p15:clr>
            <a:srgbClr val="F26B43"/>
          </p15:clr>
        </p15:guide>
        <p15:guide id="18" pos="2048">
          <p15:clr>
            <a:srgbClr val="F26B43"/>
          </p15:clr>
        </p15:guide>
        <p15:guide id="19" pos="2128">
          <p15:clr>
            <a:srgbClr val="F26B43"/>
          </p15:clr>
        </p15:guide>
        <p15:guide id="20" pos="2632">
          <p15:clr>
            <a:srgbClr val="F26B43"/>
          </p15:clr>
        </p15:guide>
        <p15:guide id="21" pos="2712">
          <p15:clr>
            <a:srgbClr val="F26B43"/>
          </p15:clr>
        </p15:guide>
        <p15:guide id="22" pos="3216">
          <p15:clr>
            <a:srgbClr val="F26B43"/>
          </p15:clr>
        </p15:guide>
        <p15:guide id="23" pos="3296">
          <p15:clr>
            <a:srgbClr val="F26B43"/>
          </p15:clr>
        </p15:guide>
        <p15:guide id="24" pos="3792">
          <p15:clr>
            <a:srgbClr val="F26B43"/>
          </p15:clr>
        </p15:guide>
        <p15:guide id="25" pos="3880">
          <p15:clr>
            <a:srgbClr val="F26B43"/>
          </p15:clr>
        </p15:guide>
        <p15:guide id="26" pos="4384">
          <p15:clr>
            <a:srgbClr val="F26B43"/>
          </p15:clr>
        </p15:guide>
        <p15:guide id="27" pos="4464">
          <p15:clr>
            <a:srgbClr val="F26B43"/>
          </p15:clr>
        </p15:guide>
        <p15:guide id="28" pos="4968">
          <p15:clr>
            <a:srgbClr val="F26B43"/>
          </p15:clr>
        </p15:guide>
        <p15:guide id="29" pos="5048">
          <p15:clr>
            <a:srgbClr val="F26B43"/>
          </p15:clr>
        </p15:guide>
        <p15:guide id="30" pos="5544">
          <p15:clr>
            <a:srgbClr val="F26B43"/>
          </p15:clr>
        </p15:guide>
        <p15:guide id="31" pos="5624">
          <p15:clr>
            <a:srgbClr val="F26B43"/>
          </p15:clr>
        </p15:guide>
        <p15:guide id="32" pos="6128">
          <p15:clr>
            <a:srgbClr val="F26B43"/>
          </p15:clr>
        </p15:guide>
        <p15:guide id="33" pos="6208">
          <p15:clr>
            <a:srgbClr val="F26B43"/>
          </p15:clr>
        </p15:guide>
        <p15:guide id="34" pos="6712">
          <p15:clr>
            <a:srgbClr val="F26B43"/>
          </p15:clr>
        </p15:guide>
        <p15:guide id="35" pos="6792">
          <p15:clr>
            <a:srgbClr val="F26B43"/>
          </p15:clr>
        </p15:guide>
        <p15:guide id="36" pos="729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302E7D8-6719-1F1A-C237-FAB829AD7F52}"/>
              </a:ext>
            </a:extLst>
          </p:cNvPr>
          <p:cNvGraphicFramePr>
            <a:graphicFrameLocks noChangeAspect="1"/>
          </p:cNvGraphicFramePr>
          <p:nvPr userDrawn="1">
            <p:custDataLst>
              <p:tags r:id="rId12"/>
            </p:custDataLst>
            <p:extLst>
              <p:ext uri="{D42A27DB-BD31-4B8C-83A1-F6EECF244321}">
                <p14:modId xmlns:p14="http://schemas.microsoft.com/office/powerpoint/2010/main" val="349900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2" name="think-cell data - do not delete" hidden="1">
                        <a:extLst>
                          <a:ext uri="{FF2B5EF4-FFF2-40B4-BE49-F238E27FC236}">
                            <a16:creationId xmlns:a16="http://schemas.microsoft.com/office/drawing/2014/main" id="{1302E7D8-6719-1F1A-C237-FAB829AD7F5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77379694"/>
      </p:ext>
    </p:extLst>
  </p:cSld>
  <p:clrMap bg1="lt1" tx1="dk1" bg2="lt2" tx2="dk2" accent1="accent1" accent2="accent2" accent3="accent3" accent4="accent4" accent5="accent5" accent6="accent6" hlink="hlink" folHlink="folHlink"/>
  <p:sldLayoutIdLst>
    <p:sldLayoutId id="2147485759" r:id="rId1"/>
    <p:sldLayoutId id="2147485760" r:id="rId2"/>
    <p:sldLayoutId id="2147485761" r:id="rId3"/>
    <p:sldLayoutId id="2147485762" r:id="rId4"/>
    <p:sldLayoutId id="2147485763" r:id="rId5"/>
    <p:sldLayoutId id="2147485764" r:id="rId6"/>
    <p:sldLayoutId id="2147485765" r:id="rId7"/>
    <p:sldLayoutId id="2147485766" r:id="rId8"/>
    <p:sldLayoutId id="2147485767" r:id="rId9"/>
    <p:sldLayoutId id="2147485768" r:id="rId10"/>
  </p:sldLayoutIdLst>
  <p:hf hdr="0" ftr="0" dt="0"/>
  <p:txStyles>
    <p:titleStyle>
      <a:lvl1pPr algn="l" defTabSz="914400" rtl="0" eaLnBrk="1" latinLnBrk="0" hangingPunct="1">
        <a:lnSpc>
          <a:spcPct val="90000"/>
        </a:lnSpc>
        <a:spcBef>
          <a:spcPct val="0"/>
        </a:spcBef>
        <a:buNone/>
        <a:defRPr sz="3500" b="1" kern="1200">
          <a:solidFill>
            <a:srgbClr val="0D1F2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16">
          <p15:clr>
            <a:srgbClr val="F26B43"/>
          </p15:clr>
        </p15:guide>
        <p15:guide id="2" orient="horz" pos="1432">
          <p15:clr>
            <a:srgbClr val="F26B43"/>
          </p15:clr>
        </p15:guide>
        <p15:guide id="3" orient="horz" pos="1512">
          <p15:clr>
            <a:srgbClr val="F26B43"/>
          </p15:clr>
        </p15:guide>
        <p15:guide id="4" orient="horz" pos="1928">
          <p15:clr>
            <a:srgbClr val="F26B43"/>
          </p15:clr>
        </p15:guide>
        <p15:guide id="5" orient="horz" pos="2008">
          <p15:clr>
            <a:srgbClr val="F26B43"/>
          </p15:clr>
        </p15:guide>
        <p15:guide id="6" orient="horz" pos="2408">
          <p15:clr>
            <a:srgbClr val="F26B43"/>
          </p15:clr>
        </p15:guide>
        <p15:guide id="7" orient="horz" pos="2504">
          <p15:clr>
            <a:srgbClr val="F26B43"/>
          </p15:clr>
        </p15:guide>
        <p15:guide id="8" orient="horz" pos="2920">
          <p15:clr>
            <a:srgbClr val="F26B43"/>
          </p15:clr>
        </p15:guide>
        <p15:guide id="9" orient="horz" pos="3000">
          <p15:clr>
            <a:srgbClr val="F26B43"/>
          </p15:clr>
        </p15:guide>
        <p15:guide id="10" orient="horz" pos="3416">
          <p15:clr>
            <a:srgbClr val="F26B43"/>
          </p15:clr>
        </p15:guide>
        <p15:guide id="11" orient="horz" pos="3496">
          <p15:clr>
            <a:srgbClr val="F26B43"/>
          </p15:clr>
        </p15:guide>
        <p15:guide id="12" orient="horz" pos="3904">
          <p15:clr>
            <a:srgbClr val="F26B43"/>
          </p15:clr>
        </p15:guide>
        <p15:guide id="13" pos="392">
          <p15:clr>
            <a:srgbClr val="F26B43"/>
          </p15:clr>
        </p15:guide>
        <p15:guide id="14" pos="888">
          <p15:clr>
            <a:srgbClr val="F26B43"/>
          </p15:clr>
        </p15:guide>
        <p15:guide id="15" pos="968">
          <p15:clr>
            <a:srgbClr val="F26B43"/>
          </p15:clr>
        </p15:guide>
        <p15:guide id="16" pos="1472">
          <p15:clr>
            <a:srgbClr val="F26B43"/>
          </p15:clr>
        </p15:guide>
        <p15:guide id="17" pos="1552">
          <p15:clr>
            <a:srgbClr val="F26B43"/>
          </p15:clr>
        </p15:guide>
        <p15:guide id="18" pos="2048">
          <p15:clr>
            <a:srgbClr val="F26B43"/>
          </p15:clr>
        </p15:guide>
        <p15:guide id="19" pos="2128">
          <p15:clr>
            <a:srgbClr val="F26B43"/>
          </p15:clr>
        </p15:guide>
        <p15:guide id="20" pos="2632">
          <p15:clr>
            <a:srgbClr val="F26B43"/>
          </p15:clr>
        </p15:guide>
        <p15:guide id="21" pos="2712">
          <p15:clr>
            <a:srgbClr val="F26B43"/>
          </p15:clr>
        </p15:guide>
        <p15:guide id="22" pos="3216">
          <p15:clr>
            <a:srgbClr val="F26B43"/>
          </p15:clr>
        </p15:guide>
        <p15:guide id="23" pos="3296">
          <p15:clr>
            <a:srgbClr val="F26B43"/>
          </p15:clr>
        </p15:guide>
        <p15:guide id="24" pos="3792">
          <p15:clr>
            <a:srgbClr val="F26B43"/>
          </p15:clr>
        </p15:guide>
        <p15:guide id="25" pos="3880">
          <p15:clr>
            <a:srgbClr val="F26B43"/>
          </p15:clr>
        </p15:guide>
        <p15:guide id="26" pos="4384">
          <p15:clr>
            <a:srgbClr val="F26B43"/>
          </p15:clr>
        </p15:guide>
        <p15:guide id="27" pos="4464">
          <p15:clr>
            <a:srgbClr val="F26B43"/>
          </p15:clr>
        </p15:guide>
        <p15:guide id="28" pos="4968">
          <p15:clr>
            <a:srgbClr val="F26B43"/>
          </p15:clr>
        </p15:guide>
        <p15:guide id="29" pos="5048">
          <p15:clr>
            <a:srgbClr val="F26B43"/>
          </p15:clr>
        </p15:guide>
        <p15:guide id="30" pos="5544">
          <p15:clr>
            <a:srgbClr val="F26B43"/>
          </p15:clr>
        </p15:guide>
        <p15:guide id="31" pos="5624">
          <p15:clr>
            <a:srgbClr val="F26B43"/>
          </p15:clr>
        </p15:guide>
        <p15:guide id="32" pos="6128">
          <p15:clr>
            <a:srgbClr val="F26B43"/>
          </p15:clr>
        </p15:guide>
        <p15:guide id="33" pos="6208">
          <p15:clr>
            <a:srgbClr val="F26B43"/>
          </p15:clr>
        </p15:guide>
        <p15:guide id="34" pos="6712">
          <p15:clr>
            <a:srgbClr val="F26B43"/>
          </p15:clr>
        </p15:guide>
        <p15:guide id="35" pos="6792">
          <p15:clr>
            <a:srgbClr val="F26B43"/>
          </p15:clr>
        </p15:guide>
        <p15:guide id="36" pos="729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97A40C7-92E4-E13B-C568-8BF67A835772}"/>
              </a:ext>
            </a:extLst>
          </p:cNvPr>
          <p:cNvGraphicFramePr>
            <a:graphicFrameLocks noChangeAspect="1"/>
          </p:cNvGraphicFramePr>
          <p:nvPr userDrawn="1">
            <p:custDataLst>
              <p:tags r:id="rId28"/>
            </p:custDataLst>
            <p:extLst>
              <p:ext uri="{D42A27DB-BD31-4B8C-83A1-F6EECF244321}">
                <p14:modId xmlns:p14="http://schemas.microsoft.com/office/powerpoint/2010/main" val="1078459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2" name="think-cell data - do not delete" hidden="1">
                        <a:extLst>
                          <a:ext uri="{FF2B5EF4-FFF2-40B4-BE49-F238E27FC236}">
                            <a16:creationId xmlns:a16="http://schemas.microsoft.com/office/drawing/2014/main" id="{F97A40C7-92E4-E13B-C568-8BF67A835772}"/>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724381639"/>
      </p:ext>
    </p:extLst>
  </p:cSld>
  <p:clrMap bg1="lt1" tx1="dk1" bg2="lt2" tx2="dk2" accent1="accent1" accent2="accent2" accent3="accent3" accent4="accent4" accent5="accent5" accent6="accent6" hlink="hlink" folHlink="folHlink"/>
  <p:sldLayoutIdLst>
    <p:sldLayoutId id="2147485770" r:id="rId1"/>
    <p:sldLayoutId id="2147485771" r:id="rId2"/>
    <p:sldLayoutId id="2147485772" r:id="rId3"/>
    <p:sldLayoutId id="2147485773" r:id="rId4"/>
    <p:sldLayoutId id="2147485774" r:id="rId5"/>
    <p:sldLayoutId id="2147485775" r:id="rId6"/>
    <p:sldLayoutId id="2147485776" r:id="rId7"/>
    <p:sldLayoutId id="2147485777" r:id="rId8"/>
    <p:sldLayoutId id="2147485778" r:id="rId9"/>
    <p:sldLayoutId id="2147485779" r:id="rId10"/>
    <p:sldLayoutId id="2147485780" r:id="rId11"/>
    <p:sldLayoutId id="2147485781" r:id="rId12"/>
    <p:sldLayoutId id="2147485782" r:id="rId13"/>
    <p:sldLayoutId id="2147485783" r:id="rId14"/>
    <p:sldLayoutId id="2147485784" r:id="rId15"/>
    <p:sldLayoutId id="2147485785" r:id="rId16"/>
    <p:sldLayoutId id="2147485786" r:id="rId17"/>
    <p:sldLayoutId id="2147485787" r:id="rId18"/>
    <p:sldLayoutId id="2147485788" r:id="rId19"/>
    <p:sldLayoutId id="2147485789" r:id="rId20"/>
    <p:sldLayoutId id="2147485790" r:id="rId21"/>
    <p:sldLayoutId id="2147485791" r:id="rId22"/>
    <p:sldLayoutId id="2147485792" r:id="rId23"/>
    <p:sldLayoutId id="2147485793" r:id="rId24"/>
    <p:sldLayoutId id="2147485794" r:id="rId25"/>
    <p:sldLayoutId id="2147485795" r:id="rId26"/>
  </p:sldLayoutIdLst>
  <p:hf hdr="0" ftr="0" dt="0"/>
  <p:txStyles>
    <p:titleStyle>
      <a:lvl1pPr algn="l" defTabSz="914400" rtl="0" eaLnBrk="1" latinLnBrk="0" hangingPunct="1">
        <a:lnSpc>
          <a:spcPct val="90000"/>
        </a:lnSpc>
        <a:spcBef>
          <a:spcPct val="0"/>
        </a:spcBef>
        <a:buNone/>
        <a:defRPr sz="3500" b="1" kern="1200">
          <a:solidFill>
            <a:srgbClr val="0D1F2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16">
          <p15:clr>
            <a:srgbClr val="F26B43"/>
          </p15:clr>
        </p15:guide>
        <p15:guide id="2" orient="horz" pos="1432">
          <p15:clr>
            <a:srgbClr val="F26B43"/>
          </p15:clr>
        </p15:guide>
        <p15:guide id="3" orient="horz" pos="1512">
          <p15:clr>
            <a:srgbClr val="F26B43"/>
          </p15:clr>
        </p15:guide>
        <p15:guide id="4" orient="horz" pos="1928">
          <p15:clr>
            <a:srgbClr val="F26B43"/>
          </p15:clr>
        </p15:guide>
        <p15:guide id="5" orient="horz" pos="2008">
          <p15:clr>
            <a:srgbClr val="F26B43"/>
          </p15:clr>
        </p15:guide>
        <p15:guide id="6" orient="horz" pos="2408">
          <p15:clr>
            <a:srgbClr val="F26B43"/>
          </p15:clr>
        </p15:guide>
        <p15:guide id="7" orient="horz" pos="2504">
          <p15:clr>
            <a:srgbClr val="F26B43"/>
          </p15:clr>
        </p15:guide>
        <p15:guide id="8" orient="horz" pos="2920">
          <p15:clr>
            <a:srgbClr val="F26B43"/>
          </p15:clr>
        </p15:guide>
        <p15:guide id="9" orient="horz" pos="3000">
          <p15:clr>
            <a:srgbClr val="F26B43"/>
          </p15:clr>
        </p15:guide>
        <p15:guide id="10" orient="horz" pos="3416">
          <p15:clr>
            <a:srgbClr val="F26B43"/>
          </p15:clr>
        </p15:guide>
        <p15:guide id="11" orient="horz" pos="3496">
          <p15:clr>
            <a:srgbClr val="F26B43"/>
          </p15:clr>
        </p15:guide>
        <p15:guide id="12" orient="horz" pos="3904">
          <p15:clr>
            <a:srgbClr val="F26B43"/>
          </p15:clr>
        </p15:guide>
        <p15:guide id="13" pos="392">
          <p15:clr>
            <a:srgbClr val="F26B43"/>
          </p15:clr>
        </p15:guide>
        <p15:guide id="14" pos="888">
          <p15:clr>
            <a:srgbClr val="F26B43"/>
          </p15:clr>
        </p15:guide>
        <p15:guide id="15" pos="968">
          <p15:clr>
            <a:srgbClr val="F26B43"/>
          </p15:clr>
        </p15:guide>
        <p15:guide id="16" pos="1472">
          <p15:clr>
            <a:srgbClr val="F26B43"/>
          </p15:clr>
        </p15:guide>
        <p15:guide id="17" pos="1552">
          <p15:clr>
            <a:srgbClr val="F26B43"/>
          </p15:clr>
        </p15:guide>
        <p15:guide id="18" pos="2048">
          <p15:clr>
            <a:srgbClr val="F26B43"/>
          </p15:clr>
        </p15:guide>
        <p15:guide id="19" pos="2128">
          <p15:clr>
            <a:srgbClr val="F26B43"/>
          </p15:clr>
        </p15:guide>
        <p15:guide id="20" pos="2632">
          <p15:clr>
            <a:srgbClr val="F26B43"/>
          </p15:clr>
        </p15:guide>
        <p15:guide id="21" pos="2712">
          <p15:clr>
            <a:srgbClr val="F26B43"/>
          </p15:clr>
        </p15:guide>
        <p15:guide id="22" pos="3216">
          <p15:clr>
            <a:srgbClr val="F26B43"/>
          </p15:clr>
        </p15:guide>
        <p15:guide id="23" pos="3296">
          <p15:clr>
            <a:srgbClr val="F26B43"/>
          </p15:clr>
        </p15:guide>
        <p15:guide id="24" pos="3792">
          <p15:clr>
            <a:srgbClr val="F26B43"/>
          </p15:clr>
        </p15:guide>
        <p15:guide id="25" pos="3880">
          <p15:clr>
            <a:srgbClr val="F26B43"/>
          </p15:clr>
        </p15:guide>
        <p15:guide id="26" pos="4384">
          <p15:clr>
            <a:srgbClr val="F26B43"/>
          </p15:clr>
        </p15:guide>
        <p15:guide id="27" pos="4464">
          <p15:clr>
            <a:srgbClr val="F26B43"/>
          </p15:clr>
        </p15:guide>
        <p15:guide id="28" pos="4968">
          <p15:clr>
            <a:srgbClr val="F26B43"/>
          </p15:clr>
        </p15:guide>
        <p15:guide id="29" pos="5048">
          <p15:clr>
            <a:srgbClr val="F26B43"/>
          </p15:clr>
        </p15:guide>
        <p15:guide id="30" pos="5544">
          <p15:clr>
            <a:srgbClr val="F26B43"/>
          </p15:clr>
        </p15:guide>
        <p15:guide id="31" pos="5624">
          <p15:clr>
            <a:srgbClr val="F26B43"/>
          </p15:clr>
        </p15:guide>
        <p15:guide id="32" pos="6128">
          <p15:clr>
            <a:srgbClr val="F26B43"/>
          </p15:clr>
        </p15:guide>
        <p15:guide id="33" pos="6208">
          <p15:clr>
            <a:srgbClr val="F26B43"/>
          </p15:clr>
        </p15:guide>
        <p15:guide id="34" pos="6712">
          <p15:clr>
            <a:srgbClr val="F26B43"/>
          </p15:clr>
        </p15:guide>
        <p15:guide id="35" pos="6792">
          <p15:clr>
            <a:srgbClr val="F26B43"/>
          </p15:clr>
        </p15:guide>
        <p15:guide id="36" pos="729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B65CF4D-1B94-CC70-A67C-1C78F796046F}"/>
              </a:ext>
            </a:extLst>
          </p:cNvPr>
          <p:cNvGraphicFramePr>
            <a:graphicFrameLocks noChangeAspect="1"/>
          </p:cNvGraphicFramePr>
          <p:nvPr userDrawn="1">
            <p:custDataLst>
              <p:tags r:id="rId13"/>
            </p:custDataLst>
            <p:extLst>
              <p:ext uri="{D42A27DB-BD31-4B8C-83A1-F6EECF244321}">
                <p14:modId xmlns:p14="http://schemas.microsoft.com/office/powerpoint/2010/main" val="4220207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2" name="think-cell data - do not delete" hidden="1">
                        <a:extLst>
                          <a:ext uri="{FF2B5EF4-FFF2-40B4-BE49-F238E27FC236}">
                            <a16:creationId xmlns:a16="http://schemas.microsoft.com/office/drawing/2014/main" id="{6B65CF4D-1B94-CC70-A67C-1C78F796046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3" name="Google Shape;43;p12"/>
          <p:cNvSpPr txBox="1">
            <a:spLocks noGrp="1"/>
          </p:cNvSpPr>
          <p:nvPr>
            <p:ph type="title"/>
          </p:nvPr>
        </p:nvSpPr>
        <p:spPr>
          <a:xfrm>
            <a:off x="495299" y="536577"/>
            <a:ext cx="11206163"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0D202F"/>
              </a:buClr>
              <a:buSzPts val="4000"/>
              <a:buFont typeface="Arial"/>
              <a:buNone/>
              <a:defRPr sz="4000" b="1" i="0" u="none" strike="noStrike" cap="none">
                <a:solidFill>
                  <a:srgbClr val="0D202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4" name="Google Shape;44;p12"/>
          <p:cNvSpPr txBox="1">
            <a:spLocks noGrp="1"/>
          </p:cNvSpPr>
          <p:nvPr>
            <p:ph type="body" idx="1"/>
          </p:nvPr>
        </p:nvSpPr>
        <p:spPr>
          <a:xfrm>
            <a:off x="495299" y="1997077"/>
            <a:ext cx="11206163" cy="4351338"/>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90000"/>
              </a:lnSpc>
              <a:spcBef>
                <a:spcPts val="1000"/>
              </a:spcBef>
              <a:spcAft>
                <a:spcPts val="0"/>
              </a:spcAft>
              <a:buClr>
                <a:srgbClr val="18A1AB"/>
              </a:buClr>
              <a:buSzPts val="2400"/>
              <a:buFont typeface="Arial"/>
              <a:buChar char="•"/>
              <a:defRPr sz="2400" b="0" i="0" u="none" strike="noStrike" cap="none">
                <a:solidFill>
                  <a:srgbClr val="18A1AB"/>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784860214"/>
      </p:ext>
    </p:extLst>
  </p:cSld>
  <p:clrMap bg1="lt1" tx1="dk1" bg2="dk2" tx2="lt2" accent1="accent1" accent2="accent2" accent3="accent3" accent4="accent4" accent5="accent5" accent6="accent6" hlink="hlink" folHlink="folHlink"/>
  <p:sldLayoutIdLst>
    <p:sldLayoutId id="2147485797" r:id="rId1"/>
    <p:sldLayoutId id="2147485798" r:id="rId2"/>
    <p:sldLayoutId id="2147485799" r:id="rId3"/>
    <p:sldLayoutId id="2147485800" r:id="rId4"/>
    <p:sldLayoutId id="2147485801" r:id="rId5"/>
    <p:sldLayoutId id="2147485802" r:id="rId6"/>
    <p:sldLayoutId id="2147485803" r:id="rId7"/>
    <p:sldLayoutId id="2147485804" r:id="rId8"/>
    <p:sldLayoutId id="2147485805" r:id="rId9"/>
    <p:sldLayoutId id="2147485806" r:id="rId10"/>
    <p:sldLayoutId id="2147485807"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9"/>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F081C51-4598-61DD-3B3F-DE59D1A62C3A}"/>
              </a:ext>
            </a:extLst>
          </p:cNvPr>
          <p:cNvGraphicFramePr>
            <a:graphicFrameLocks noChangeAspect="1"/>
          </p:cNvGraphicFramePr>
          <p:nvPr userDrawn="1">
            <p:custDataLst>
              <p:tags r:id="rId3"/>
            </p:custDataLst>
            <p:extLst>
              <p:ext uri="{D42A27DB-BD31-4B8C-83A1-F6EECF244321}">
                <p14:modId xmlns:p14="http://schemas.microsoft.com/office/powerpoint/2010/main" val="2929042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2F081C51-4598-61DD-3B3F-DE59D1A62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age 2">
            <a:extLst>
              <a:ext uri="{FF2B5EF4-FFF2-40B4-BE49-F238E27FC236}">
                <a16:creationId xmlns:a16="http://schemas.microsoft.com/office/drawing/2014/main" id="{5E8C3712-4197-1349-8396-4B2FF77D185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062162" y="760762"/>
            <a:ext cx="5807722" cy="3877628"/>
          </a:xfrm>
          <a:prstGeom prst="rect">
            <a:avLst/>
          </a:prstGeom>
        </p:spPr>
      </p:pic>
      <p:pic>
        <p:nvPicPr>
          <p:cNvPr id="31" name="Image 11">
            <a:extLst>
              <a:ext uri="{FF2B5EF4-FFF2-40B4-BE49-F238E27FC236}">
                <a16:creationId xmlns:a16="http://schemas.microsoft.com/office/drawing/2014/main" id="{A4A902F6-9901-4276-B8F3-96861AE53A5A}"/>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44414" t="13200"/>
          <a:stretch/>
        </p:blipFill>
        <p:spPr>
          <a:xfrm rot="10800000">
            <a:off x="-3" y="0"/>
            <a:ext cx="2907267" cy="3216738"/>
          </a:xfrm>
          <a:prstGeom prst="rect">
            <a:avLst/>
          </a:prstGeom>
        </p:spPr>
      </p:pic>
      <p:pic>
        <p:nvPicPr>
          <p:cNvPr id="5" name="Image 14">
            <a:extLst>
              <a:ext uri="{FF2B5EF4-FFF2-40B4-BE49-F238E27FC236}">
                <a16:creationId xmlns:a16="http://schemas.microsoft.com/office/drawing/2014/main" id="{8DCDE0EC-D488-4F96-BB8D-0AE6832AE512}"/>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t="-969"/>
          <a:stretch/>
        </p:blipFill>
        <p:spPr>
          <a:xfrm>
            <a:off x="9053641" y="4066162"/>
            <a:ext cx="3138358" cy="2791838"/>
          </a:xfrm>
          <a:prstGeom prst="rect">
            <a:avLst/>
          </a:prstGeom>
        </p:spPr>
      </p:pic>
      <p:sp>
        <p:nvSpPr>
          <p:cNvPr id="7" name="Google Shape;111;p19">
            <a:extLst>
              <a:ext uri="{FF2B5EF4-FFF2-40B4-BE49-F238E27FC236}">
                <a16:creationId xmlns:a16="http://schemas.microsoft.com/office/drawing/2014/main" id="{0286E45A-2DFC-44D3-B116-AB401028C3D5}"/>
              </a:ext>
            </a:extLst>
          </p:cNvPr>
          <p:cNvSpPr/>
          <p:nvPr userDrawn="1"/>
        </p:nvSpPr>
        <p:spPr>
          <a:xfrm>
            <a:off x="11025544" y="5006086"/>
            <a:ext cx="1166455" cy="1864792"/>
          </a:xfrm>
          <a:prstGeom prst="rect">
            <a:avLst/>
          </a:prstGeom>
          <a:blipFill rotWithShape="1">
            <a:blip r:embed="rId9" cstate="email">
              <a:alphaModFix/>
              <a:extLst>
                <a:ext uri="{28A0092B-C50C-407E-A947-70E740481C1C}">
                  <a14:useLocalDpi xmlns:a14="http://schemas.microsoft.com/office/drawing/2010/main"/>
                </a:ext>
              </a:extLst>
            </a:blip>
            <a:stretch>
              <a:fillRect l="6580" t="615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21" name="Google Shape;121;p23"/>
          <p:cNvPicPr preferRelativeResize="0"/>
          <p:nvPr/>
        </p:nvPicPr>
        <p:blipFill>
          <a:blip r:embed="rId10"/>
          <a:srcRect/>
          <a:stretch/>
        </p:blipFill>
        <p:spPr>
          <a:xfrm>
            <a:off x="5009722" y="5690693"/>
            <a:ext cx="2172555" cy="487306"/>
          </a:xfrm>
          <a:prstGeom prst="rect">
            <a:avLst/>
          </a:prstGeom>
          <a:noFill/>
          <a:ln>
            <a:noFill/>
          </a:ln>
        </p:spPr>
      </p:pic>
      <p:sp>
        <p:nvSpPr>
          <p:cNvPr id="122" name="Google Shape;122;p23"/>
          <p:cNvSpPr txBox="1"/>
          <p:nvPr/>
        </p:nvSpPr>
        <p:spPr>
          <a:xfrm>
            <a:off x="4934857" y="6270411"/>
            <a:ext cx="2322286"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fr-FR" sz="1400" b="0" i="0" u="none" strike="noStrike" cap="none">
                <a:solidFill>
                  <a:srgbClr val="000000"/>
                </a:solidFill>
                <a:latin typeface="Arial"/>
                <a:ea typeface="Arial"/>
                <a:cs typeface="Arial"/>
                <a:sym typeface="Arial"/>
              </a:rPr>
              <a:t>www.gardp.org</a:t>
            </a:r>
            <a:endParaRPr sz="1400" b="0" i="0" u="none" strike="noStrike" cap="none">
              <a:solidFill>
                <a:srgbClr val="000000"/>
              </a:solidFill>
              <a:latin typeface="Arial"/>
              <a:ea typeface="Arial"/>
              <a:cs typeface="Arial"/>
              <a:sym typeface="Arial"/>
            </a:endParaRPr>
          </a:p>
        </p:txBody>
      </p:sp>
      <p:pic>
        <p:nvPicPr>
          <p:cNvPr id="2" name="Image 3">
            <a:extLst>
              <a:ext uri="{FF2B5EF4-FFF2-40B4-BE49-F238E27FC236}">
                <a16:creationId xmlns:a16="http://schemas.microsoft.com/office/drawing/2014/main" id="{8DEB5F61-9150-47F8-828A-88E805FE472D}"/>
              </a:ext>
            </a:extLst>
          </p:cNvPr>
          <p:cNvPicPr>
            <a:picLocks noChangeAspect="1"/>
          </p:cNvPicPr>
          <p:nvPr userDrawn="1"/>
        </p:nvPicPr>
        <p:blipFill>
          <a:blip r:embed="rId11"/>
          <a:srcRect/>
          <a:stretch/>
        </p:blipFill>
        <p:spPr>
          <a:xfrm>
            <a:off x="3816843" y="3429000"/>
            <a:ext cx="1032424" cy="409857"/>
          </a:xfrm>
          <a:prstGeom prst="rect">
            <a:avLst/>
          </a:prstGeom>
        </p:spPr>
      </p:pic>
      <p:pic>
        <p:nvPicPr>
          <p:cNvPr id="4" name="Image 5">
            <a:extLst>
              <a:ext uri="{FF2B5EF4-FFF2-40B4-BE49-F238E27FC236}">
                <a16:creationId xmlns:a16="http://schemas.microsoft.com/office/drawing/2014/main" id="{6EB918B8-055E-4B33-A980-66A03A781F0C}"/>
              </a:ext>
            </a:extLst>
          </p:cNvPr>
          <p:cNvPicPr>
            <a:picLocks noChangeAspect="1"/>
          </p:cNvPicPr>
          <p:nvPr userDrawn="1"/>
        </p:nvPicPr>
        <p:blipFill>
          <a:blip r:embed="rId12"/>
          <a:srcRect/>
          <a:stretch/>
        </p:blipFill>
        <p:spPr>
          <a:xfrm>
            <a:off x="3612406" y="2732907"/>
            <a:ext cx="936181" cy="624120"/>
          </a:xfrm>
          <a:prstGeom prst="rect">
            <a:avLst/>
          </a:prstGeom>
        </p:spPr>
      </p:pic>
      <p:pic>
        <p:nvPicPr>
          <p:cNvPr id="8" name="Image 9">
            <a:extLst>
              <a:ext uri="{FF2B5EF4-FFF2-40B4-BE49-F238E27FC236}">
                <a16:creationId xmlns:a16="http://schemas.microsoft.com/office/drawing/2014/main" id="{8F155593-1EAE-42A6-AA5F-2543EB81A1A7}"/>
              </a:ext>
            </a:extLst>
          </p:cNvPr>
          <p:cNvPicPr>
            <a:picLocks noChangeAspect="1"/>
          </p:cNvPicPr>
          <p:nvPr userDrawn="1"/>
        </p:nvPicPr>
        <p:blipFill>
          <a:blip r:embed="rId13"/>
          <a:srcRect/>
          <a:stretch/>
        </p:blipFill>
        <p:spPr>
          <a:xfrm>
            <a:off x="3651144" y="2243119"/>
            <a:ext cx="661460" cy="495895"/>
          </a:xfrm>
          <a:prstGeom prst="rect">
            <a:avLst/>
          </a:prstGeom>
        </p:spPr>
      </p:pic>
      <p:pic>
        <p:nvPicPr>
          <p:cNvPr id="12" name="Image 13">
            <a:extLst>
              <a:ext uri="{FF2B5EF4-FFF2-40B4-BE49-F238E27FC236}">
                <a16:creationId xmlns:a16="http://schemas.microsoft.com/office/drawing/2014/main" id="{F7C80A68-86D9-4FAF-A17D-35384340C439}"/>
              </a:ext>
            </a:extLst>
          </p:cNvPr>
          <p:cNvPicPr>
            <a:picLocks noChangeAspect="1"/>
          </p:cNvPicPr>
          <p:nvPr userDrawn="1"/>
        </p:nvPicPr>
        <p:blipFill>
          <a:blip r:embed="rId14"/>
          <a:srcRect/>
          <a:stretch/>
        </p:blipFill>
        <p:spPr>
          <a:xfrm>
            <a:off x="7534743" y="1213360"/>
            <a:ext cx="1302748" cy="976668"/>
          </a:xfrm>
          <a:prstGeom prst="rect">
            <a:avLst/>
          </a:prstGeom>
        </p:spPr>
      </p:pic>
      <p:pic>
        <p:nvPicPr>
          <p:cNvPr id="14" name="Image 20">
            <a:extLst>
              <a:ext uri="{FF2B5EF4-FFF2-40B4-BE49-F238E27FC236}">
                <a16:creationId xmlns:a16="http://schemas.microsoft.com/office/drawing/2014/main" id="{8ED8FA27-6142-4D05-B899-4186E8F9B01E}"/>
              </a:ext>
            </a:extLst>
          </p:cNvPr>
          <p:cNvPicPr>
            <a:picLocks noChangeAspect="1"/>
          </p:cNvPicPr>
          <p:nvPr userDrawn="1"/>
        </p:nvPicPr>
        <p:blipFill>
          <a:blip r:embed="rId15"/>
          <a:srcRect/>
          <a:stretch/>
        </p:blipFill>
        <p:spPr>
          <a:xfrm>
            <a:off x="4711216" y="591012"/>
            <a:ext cx="1009403" cy="756747"/>
          </a:xfrm>
          <a:prstGeom prst="rect">
            <a:avLst/>
          </a:prstGeom>
        </p:spPr>
      </p:pic>
      <p:pic>
        <p:nvPicPr>
          <p:cNvPr id="16" name="Image 22">
            <a:extLst>
              <a:ext uri="{FF2B5EF4-FFF2-40B4-BE49-F238E27FC236}">
                <a16:creationId xmlns:a16="http://schemas.microsoft.com/office/drawing/2014/main" id="{79FD520A-B162-4E8E-88A5-ED0920EE4F4F}"/>
              </a:ext>
            </a:extLst>
          </p:cNvPr>
          <p:cNvPicPr>
            <a:picLocks noChangeAspect="1"/>
          </p:cNvPicPr>
          <p:nvPr userDrawn="1"/>
        </p:nvPicPr>
        <p:blipFill>
          <a:blip r:embed="rId16"/>
          <a:srcRect/>
          <a:stretch/>
        </p:blipFill>
        <p:spPr>
          <a:xfrm>
            <a:off x="3890932" y="1500571"/>
            <a:ext cx="618010" cy="343339"/>
          </a:xfrm>
          <a:prstGeom prst="rect">
            <a:avLst/>
          </a:prstGeom>
        </p:spPr>
      </p:pic>
      <p:pic>
        <p:nvPicPr>
          <p:cNvPr id="20" name="Image 26">
            <a:extLst>
              <a:ext uri="{FF2B5EF4-FFF2-40B4-BE49-F238E27FC236}">
                <a16:creationId xmlns:a16="http://schemas.microsoft.com/office/drawing/2014/main" id="{17EE76CF-43C0-4537-BBB9-BDC3B6314E7B}"/>
              </a:ext>
            </a:extLst>
          </p:cNvPr>
          <p:cNvPicPr>
            <a:picLocks noChangeAspect="1"/>
          </p:cNvPicPr>
          <p:nvPr userDrawn="1"/>
        </p:nvPicPr>
        <p:blipFill>
          <a:blip r:embed="rId17"/>
          <a:srcRect/>
          <a:stretch/>
        </p:blipFill>
        <p:spPr>
          <a:xfrm>
            <a:off x="7751496" y="1750700"/>
            <a:ext cx="1260265" cy="463898"/>
          </a:xfrm>
          <a:prstGeom prst="rect">
            <a:avLst/>
          </a:prstGeom>
        </p:spPr>
      </p:pic>
      <p:pic>
        <p:nvPicPr>
          <p:cNvPr id="22" name="Image 30">
            <a:extLst>
              <a:ext uri="{FF2B5EF4-FFF2-40B4-BE49-F238E27FC236}">
                <a16:creationId xmlns:a16="http://schemas.microsoft.com/office/drawing/2014/main" id="{9174D37A-67B3-46BD-BDAB-A2957CEBFAC8}"/>
              </a:ext>
            </a:extLst>
          </p:cNvPr>
          <p:cNvPicPr>
            <a:picLocks noChangeAspect="1"/>
          </p:cNvPicPr>
          <p:nvPr userDrawn="1"/>
        </p:nvPicPr>
        <p:blipFill>
          <a:blip r:embed="rId18"/>
          <a:srcRect/>
          <a:stretch/>
        </p:blipFill>
        <p:spPr>
          <a:xfrm>
            <a:off x="4186345" y="3930098"/>
            <a:ext cx="1094564" cy="234352"/>
          </a:xfrm>
          <a:prstGeom prst="rect">
            <a:avLst/>
          </a:prstGeom>
        </p:spPr>
      </p:pic>
      <p:pic>
        <p:nvPicPr>
          <p:cNvPr id="24" name="Image 32">
            <a:extLst>
              <a:ext uri="{FF2B5EF4-FFF2-40B4-BE49-F238E27FC236}">
                <a16:creationId xmlns:a16="http://schemas.microsoft.com/office/drawing/2014/main" id="{71C75DE6-E853-4E7D-A4AB-C0B0BC03F68D}"/>
              </a:ext>
            </a:extLst>
          </p:cNvPr>
          <p:cNvPicPr>
            <a:picLocks noChangeAspect="1"/>
          </p:cNvPicPr>
          <p:nvPr userDrawn="1"/>
        </p:nvPicPr>
        <p:blipFill>
          <a:blip r:embed="rId19"/>
          <a:srcRect/>
          <a:stretch/>
        </p:blipFill>
        <p:spPr>
          <a:xfrm>
            <a:off x="3732836" y="1855098"/>
            <a:ext cx="695322" cy="386290"/>
          </a:xfrm>
          <a:prstGeom prst="rect">
            <a:avLst/>
          </a:prstGeom>
        </p:spPr>
      </p:pic>
      <p:pic>
        <p:nvPicPr>
          <p:cNvPr id="26" name="Image 34">
            <a:extLst>
              <a:ext uri="{FF2B5EF4-FFF2-40B4-BE49-F238E27FC236}">
                <a16:creationId xmlns:a16="http://schemas.microsoft.com/office/drawing/2014/main" id="{D3FE46AB-AA12-43D2-A537-D5AFBEACC90A}"/>
              </a:ext>
            </a:extLst>
          </p:cNvPr>
          <p:cNvPicPr>
            <a:picLocks noChangeAspect="1"/>
          </p:cNvPicPr>
          <p:nvPr userDrawn="1"/>
        </p:nvPicPr>
        <p:blipFill>
          <a:blip r:embed="rId20"/>
          <a:srcRect t="11747" b="11747"/>
          <a:stretch/>
        </p:blipFill>
        <p:spPr>
          <a:xfrm>
            <a:off x="4280835" y="1036754"/>
            <a:ext cx="362205" cy="429521"/>
          </a:xfrm>
          <a:prstGeom prst="rect">
            <a:avLst/>
          </a:prstGeom>
        </p:spPr>
      </p:pic>
      <p:pic>
        <p:nvPicPr>
          <p:cNvPr id="28" name="Image 36">
            <a:extLst>
              <a:ext uri="{FF2B5EF4-FFF2-40B4-BE49-F238E27FC236}">
                <a16:creationId xmlns:a16="http://schemas.microsoft.com/office/drawing/2014/main" id="{5EE3F285-9D66-4DCA-8690-22C40B8DF746}"/>
              </a:ext>
            </a:extLst>
          </p:cNvPr>
          <p:cNvPicPr>
            <a:picLocks noChangeAspect="1"/>
          </p:cNvPicPr>
          <p:nvPr userDrawn="1"/>
        </p:nvPicPr>
        <p:blipFill>
          <a:blip r:embed="rId21"/>
          <a:srcRect/>
          <a:stretch/>
        </p:blipFill>
        <p:spPr>
          <a:xfrm>
            <a:off x="3655214" y="5771012"/>
            <a:ext cx="1114136" cy="340739"/>
          </a:xfrm>
          <a:prstGeom prst="rect">
            <a:avLst/>
          </a:prstGeom>
        </p:spPr>
      </p:pic>
      <p:pic>
        <p:nvPicPr>
          <p:cNvPr id="30" name="Image 38">
            <a:extLst>
              <a:ext uri="{FF2B5EF4-FFF2-40B4-BE49-F238E27FC236}">
                <a16:creationId xmlns:a16="http://schemas.microsoft.com/office/drawing/2014/main" id="{27ADD298-3E02-4818-BDDE-9578B81A9F7B}"/>
              </a:ext>
            </a:extLst>
          </p:cNvPr>
          <p:cNvPicPr>
            <a:picLocks noChangeAspect="1"/>
          </p:cNvPicPr>
          <p:nvPr userDrawn="1"/>
        </p:nvPicPr>
        <p:blipFill>
          <a:blip r:embed="rId22"/>
          <a:srcRect/>
          <a:stretch/>
        </p:blipFill>
        <p:spPr>
          <a:xfrm>
            <a:off x="7861662" y="2321542"/>
            <a:ext cx="358314" cy="358314"/>
          </a:xfrm>
          <a:prstGeom prst="rect">
            <a:avLst/>
          </a:prstGeom>
        </p:spPr>
      </p:pic>
      <p:pic>
        <p:nvPicPr>
          <p:cNvPr id="32" name="Image 4">
            <a:extLst>
              <a:ext uri="{FF2B5EF4-FFF2-40B4-BE49-F238E27FC236}">
                <a16:creationId xmlns:a16="http://schemas.microsoft.com/office/drawing/2014/main" id="{35A95945-F85D-4C57-9EEF-9806CA2A0A05}"/>
              </a:ext>
            </a:extLst>
          </p:cNvPr>
          <p:cNvPicPr>
            <a:picLocks noChangeAspect="1"/>
          </p:cNvPicPr>
          <p:nvPr userDrawn="1"/>
        </p:nvPicPr>
        <p:blipFill>
          <a:blip r:embed="rId23"/>
          <a:srcRect/>
          <a:stretch/>
        </p:blipFill>
        <p:spPr>
          <a:xfrm>
            <a:off x="7465964" y="5416738"/>
            <a:ext cx="1504260" cy="1127741"/>
          </a:xfrm>
          <a:prstGeom prst="rect">
            <a:avLst/>
          </a:prstGeom>
        </p:spPr>
      </p:pic>
      <p:pic>
        <p:nvPicPr>
          <p:cNvPr id="34" name="Image 38">
            <a:extLst>
              <a:ext uri="{FF2B5EF4-FFF2-40B4-BE49-F238E27FC236}">
                <a16:creationId xmlns:a16="http://schemas.microsoft.com/office/drawing/2014/main" id="{3FE47349-D7A2-4688-8ECD-41515AEE9C55}"/>
              </a:ext>
            </a:extLst>
          </p:cNvPr>
          <p:cNvPicPr>
            <a:picLocks noChangeAspect="1"/>
          </p:cNvPicPr>
          <p:nvPr userDrawn="1"/>
        </p:nvPicPr>
        <p:blipFill>
          <a:blip r:embed="rId24"/>
          <a:srcRect/>
          <a:stretch/>
        </p:blipFill>
        <p:spPr>
          <a:xfrm>
            <a:off x="7576260" y="3216739"/>
            <a:ext cx="464559" cy="464559"/>
          </a:xfrm>
          <a:prstGeom prst="rect">
            <a:avLst/>
          </a:prstGeom>
        </p:spPr>
      </p:pic>
      <p:sp>
        <p:nvSpPr>
          <p:cNvPr id="23" name="Google Shape;116;p19">
            <a:extLst>
              <a:ext uri="{FF2B5EF4-FFF2-40B4-BE49-F238E27FC236}">
                <a16:creationId xmlns:a16="http://schemas.microsoft.com/office/drawing/2014/main" id="{3E783269-7A1E-4EFD-917B-A83278E6FD23}"/>
              </a:ext>
            </a:extLst>
          </p:cNvPr>
          <p:cNvSpPr txBox="1">
            <a:spLocks noGrp="1"/>
          </p:cNvSpPr>
          <p:nvPr>
            <p:ph type="title"/>
          </p:nvPr>
        </p:nvSpPr>
        <p:spPr>
          <a:xfrm>
            <a:off x="838200" y="4259487"/>
            <a:ext cx="10515600" cy="1325563"/>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0"/>
              </a:spcBef>
              <a:spcAft>
                <a:spcPts val="0"/>
              </a:spcAft>
              <a:buClr>
                <a:srgbClr val="0D202F"/>
              </a:buClr>
              <a:buSzPts val="8000"/>
              <a:buFont typeface="Arial"/>
              <a:buNone/>
              <a:defRPr sz="8000" b="1" i="0" u="none" strike="noStrike" cap="none">
                <a:solidFill>
                  <a:srgbClr val="0D202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a:t>Thank you</a:t>
            </a:r>
            <a:endParaRPr/>
          </a:p>
        </p:txBody>
      </p:sp>
      <p:pic>
        <p:nvPicPr>
          <p:cNvPr id="11" name="Image 38">
            <a:extLst>
              <a:ext uri="{FF2B5EF4-FFF2-40B4-BE49-F238E27FC236}">
                <a16:creationId xmlns:a16="http://schemas.microsoft.com/office/drawing/2014/main" id="{2AFFBF00-2FCB-4569-87AF-4DCAE2A68A97}"/>
              </a:ext>
            </a:extLst>
          </p:cNvPr>
          <p:cNvPicPr>
            <a:picLocks noChangeAspect="1"/>
          </p:cNvPicPr>
          <p:nvPr userDrawn="1"/>
        </p:nvPicPr>
        <p:blipFill>
          <a:blip r:embed="rId25"/>
          <a:srcRect/>
          <a:stretch/>
        </p:blipFill>
        <p:spPr>
          <a:xfrm>
            <a:off x="7751496" y="2846779"/>
            <a:ext cx="358314" cy="238876"/>
          </a:xfrm>
          <a:prstGeom prst="rect">
            <a:avLst/>
          </a:prstGeom>
        </p:spPr>
      </p:pic>
      <p:pic>
        <p:nvPicPr>
          <p:cNvPr id="10" name="Image 11">
            <a:extLst>
              <a:ext uri="{FF2B5EF4-FFF2-40B4-BE49-F238E27FC236}">
                <a16:creationId xmlns:a16="http://schemas.microsoft.com/office/drawing/2014/main" id="{BCFA6E9B-998F-4BCB-8207-F6A1A23C7153}"/>
              </a:ext>
            </a:extLst>
          </p:cNvPr>
          <p:cNvPicPr>
            <a:picLocks noChangeAspect="1"/>
          </p:cNvPicPr>
          <p:nvPr userDrawn="1"/>
        </p:nvPicPr>
        <p:blipFill>
          <a:blip r:embed="rId26"/>
          <a:srcRect t="28473" b="28473"/>
          <a:stretch/>
        </p:blipFill>
        <p:spPr>
          <a:xfrm>
            <a:off x="7003650" y="1079957"/>
            <a:ext cx="1182467" cy="381673"/>
          </a:xfrm>
          <a:prstGeom prst="rect">
            <a:avLst/>
          </a:prstGeom>
        </p:spPr>
      </p:pic>
      <p:pic>
        <p:nvPicPr>
          <p:cNvPr id="13" name="Picture 12">
            <a:extLst>
              <a:ext uri="{FF2B5EF4-FFF2-40B4-BE49-F238E27FC236}">
                <a16:creationId xmlns:a16="http://schemas.microsoft.com/office/drawing/2014/main" id="{414DD8E3-5889-4E4F-AE35-57B80978979F}"/>
              </a:ext>
            </a:extLst>
          </p:cNvPr>
          <p:cNvPicPr>
            <a:picLocks noChangeAspect="1"/>
          </p:cNvPicPr>
          <p:nvPr userDrawn="1"/>
        </p:nvPicPr>
        <p:blipFill rotWithShape="1">
          <a:blip r:embed="rId27"/>
          <a:srcRect l="8908" t="21822" r="9452" b="23704"/>
          <a:stretch/>
        </p:blipFill>
        <p:spPr>
          <a:xfrm>
            <a:off x="5534065" y="559683"/>
            <a:ext cx="938430" cy="256275"/>
          </a:xfrm>
          <a:prstGeom prst="rect">
            <a:avLst/>
          </a:prstGeom>
        </p:spPr>
      </p:pic>
      <p:pic>
        <p:nvPicPr>
          <p:cNvPr id="15" name="Picture 14" descr="Logo&#10;&#10;Description automatically generated">
            <a:extLst>
              <a:ext uri="{FF2B5EF4-FFF2-40B4-BE49-F238E27FC236}">
                <a16:creationId xmlns:a16="http://schemas.microsoft.com/office/drawing/2014/main" id="{8B8FFD59-4BAB-40C3-ADEF-3765E23FB3E7}"/>
              </a:ext>
            </a:extLst>
          </p:cNvPr>
          <p:cNvPicPr>
            <a:picLocks noChangeAspect="1"/>
          </p:cNvPicPr>
          <p:nvPr userDrawn="1"/>
        </p:nvPicPr>
        <p:blipFill>
          <a:blip r:embed="rId28"/>
          <a:stretch>
            <a:fillRect/>
          </a:stretch>
        </p:blipFill>
        <p:spPr>
          <a:xfrm>
            <a:off x="7321811" y="3723302"/>
            <a:ext cx="508897" cy="381673"/>
          </a:xfrm>
          <a:prstGeom prst="rect">
            <a:avLst/>
          </a:prstGeom>
        </p:spPr>
      </p:pic>
      <p:pic>
        <p:nvPicPr>
          <p:cNvPr id="18" name="Image 24">
            <a:extLst>
              <a:ext uri="{FF2B5EF4-FFF2-40B4-BE49-F238E27FC236}">
                <a16:creationId xmlns:a16="http://schemas.microsoft.com/office/drawing/2014/main" id="{5504DFBF-62AF-41F4-A4BD-60AEE088999A}"/>
              </a:ext>
            </a:extLst>
          </p:cNvPr>
          <p:cNvPicPr>
            <a:picLocks noChangeAspect="1"/>
          </p:cNvPicPr>
          <p:nvPr userDrawn="1"/>
        </p:nvPicPr>
        <p:blipFill>
          <a:blip r:embed="rId29"/>
          <a:srcRect/>
          <a:stretch/>
        </p:blipFill>
        <p:spPr>
          <a:xfrm>
            <a:off x="6355526" y="788452"/>
            <a:ext cx="1171735" cy="429520"/>
          </a:xfrm>
          <a:prstGeom prst="rect">
            <a:avLst/>
          </a:prstGeom>
        </p:spPr>
      </p:pic>
      <p:pic>
        <p:nvPicPr>
          <p:cNvPr id="38" name="Picture 37">
            <a:extLst>
              <a:ext uri="{FF2B5EF4-FFF2-40B4-BE49-F238E27FC236}">
                <a16:creationId xmlns:a16="http://schemas.microsoft.com/office/drawing/2014/main" id="{5F6B9D62-91D5-4375-AB5E-50F68B685467}"/>
              </a:ext>
            </a:extLst>
          </p:cNvPr>
          <p:cNvPicPr>
            <a:picLocks noChangeAspect="1"/>
          </p:cNvPicPr>
          <p:nvPr userDrawn="1"/>
        </p:nvPicPr>
        <p:blipFill rotWithShape="1">
          <a:blip r:embed="rId30"/>
          <a:srcRect b="34245"/>
          <a:stretch/>
        </p:blipFill>
        <p:spPr>
          <a:xfrm>
            <a:off x="10398540" y="5739563"/>
            <a:ext cx="1700931" cy="1118438"/>
          </a:xfrm>
          <a:prstGeom prst="rect">
            <a:avLst/>
          </a:prstGeom>
        </p:spPr>
      </p:pic>
      <p:pic>
        <p:nvPicPr>
          <p:cNvPr id="42" name="Picture 41">
            <a:extLst>
              <a:ext uri="{FF2B5EF4-FFF2-40B4-BE49-F238E27FC236}">
                <a16:creationId xmlns:a16="http://schemas.microsoft.com/office/drawing/2014/main" id="{B4A5C718-8AD4-424E-BAC8-123D6AB543C4}"/>
              </a:ext>
            </a:extLst>
          </p:cNvPr>
          <p:cNvPicPr>
            <a:picLocks noChangeAspect="1"/>
          </p:cNvPicPr>
          <p:nvPr userDrawn="1"/>
        </p:nvPicPr>
        <p:blipFill rotWithShape="1">
          <a:blip r:embed="rId31"/>
          <a:srcRect t="17991"/>
          <a:stretch/>
        </p:blipFill>
        <p:spPr>
          <a:xfrm>
            <a:off x="1111763" y="0"/>
            <a:ext cx="2298391" cy="1884885"/>
          </a:xfrm>
          <a:prstGeom prst="rect">
            <a:avLst/>
          </a:prstGeom>
        </p:spPr>
      </p:pic>
    </p:spTree>
    <p:extLst>
      <p:ext uri="{BB962C8B-B14F-4D97-AF65-F5344CB8AC3E}">
        <p14:creationId xmlns:p14="http://schemas.microsoft.com/office/powerpoint/2010/main" val="4257945749"/>
      </p:ext>
    </p:extLst>
  </p:cSld>
  <p:clrMap bg1="lt1" tx1="dk1" bg2="dk2" tx2="lt2" accent1="accent1" accent2="accent2" accent3="accent3" accent4="accent4" accent5="accent5" accent6="accent6" hlink="hlink" folHlink="folHlink"/>
  <p:sldLayoutIdLst>
    <p:sldLayoutId id="214748580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130.sv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8.svg"/><Relationship Id="rId3" Type="http://schemas.openxmlformats.org/officeDocument/2006/relationships/image" Target="../media/image33.png"/><Relationship Id="rId7" Type="http://schemas.openxmlformats.org/officeDocument/2006/relationships/image" Target="../media/image132.svg"/><Relationship Id="rId12" Type="http://schemas.openxmlformats.org/officeDocument/2006/relationships/image" Target="../media/image137.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131.png"/><Relationship Id="rId11" Type="http://schemas.openxmlformats.org/officeDocument/2006/relationships/image" Target="../media/image136.svg"/><Relationship Id="rId5" Type="http://schemas.openxmlformats.org/officeDocument/2006/relationships/image" Target="../media/image34.png"/><Relationship Id="rId10" Type="http://schemas.openxmlformats.org/officeDocument/2006/relationships/image" Target="../media/image135.png"/><Relationship Id="rId4" Type="http://schemas.openxmlformats.org/officeDocument/2006/relationships/image" Target="../media/image35.png"/><Relationship Id="rId9" Type="http://schemas.openxmlformats.org/officeDocument/2006/relationships/image" Target="../media/image134.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6.xml"/></Relationships>
</file>

<file path=ppt/slides/_rels/slide18.xml.rels><?xml version="1.0" encoding="UTF-8" standalone="yes"?>
<Relationships xmlns="http://schemas.openxmlformats.org/package/2006/relationships"><Relationship Id="rId8" Type="http://schemas.openxmlformats.org/officeDocument/2006/relationships/image" Target="../media/image143.svg"/><Relationship Id="rId3" Type="http://schemas.openxmlformats.org/officeDocument/2006/relationships/image" Target="../media/image139.png"/><Relationship Id="rId7" Type="http://schemas.openxmlformats.org/officeDocument/2006/relationships/image" Target="../media/image102.png"/><Relationship Id="rId2" Type="http://schemas.openxmlformats.org/officeDocument/2006/relationships/notesSlide" Target="../notesSlides/notesSlide18.xml"/><Relationship Id="rId1" Type="http://schemas.openxmlformats.org/officeDocument/2006/relationships/slideLayout" Target="../slideLayouts/slideLayout103.xml"/><Relationship Id="rId6" Type="http://schemas.openxmlformats.org/officeDocument/2006/relationships/image" Target="../media/image142.svg"/><Relationship Id="rId5" Type="http://schemas.openxmlformats.org/officeDocument/2006/relationships/image" Target="../media/image141.png"/><Relationship Id="rId10" Type="http://schemas.openxmlformats.org/officeDocument/2006/relationships/hyperlink" Target="https://gardp.org/wp-content/uploads/2022/06/License-Agreement-Overview-Cefiderocol-1.pdf" TargetMode="External"/><Relationship Id="rId4" Type="http://schemas.openxmlformats.org/officeDocument/2006/relationships/image" Target="../media/image140.svg"/><Relationship Id="rId9" Type="http://schemas.openxmlformats.org/officeDocument/2006/relationships/hyperlink" Target="https://www.wipo.int/policy/en/news/global_health/2022/news_0021.html"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146.svg"/><Relationship Id="rId3" Type="http://schemas.openxmlformats.org/officeDocument/2006/relationships/image" Target="../media/image102.png"/><Relationship Id="rId7"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82.xml"/><Relationship Id="rId6" Type="http://schemas.openxmlformats.org/officeDocument/2006/relationships/image" Target="../media/image145.svg"/><Relationship Id="rId5" Type="http://schemas.openxmlformats.org/officeDocument/2006/relationships/image" Target="../media/image144.png"/><Relationship Id="rId4" Type="http://schemas.openxmlformats.org/officeDocument/2006/relationships/image" Target="../media/image103.svg"/><Relationship Id="rId9" Type="http://schemas.openxmlformats.org/officeDocument/2006/relationships/image" Target="../media/image147.svg"/></Relationships>
</file>

<file path=ppt/slides/_rels/slide2.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05.svg"/><Relationship Id="rId5" Type="http://schemas.openxmlformats.org/officeDocument/2006/relationships/image" Target="../media/image104.png"/><Relationship Id="rId10" Type="http://schemas.openxmlformats.org/officeDocument/2006/relationships/image" Target="../media/image109.svg"/><Relationship Id="rId4" Type="http://schemas.openxmlformats.org/officeDocument/2006/relationships/image" Target="../media/image103.svg"/><Relationship Id="rId9" Type="http://schemas.openxmlformats.org/officeDocument/2006/relationships/image" Target="../media/image10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3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33.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112.png"/><Relationship Id="rId4" Type="http://schemas.openxmlformats.org/officeDocument/2006/relationships/diagramLayout" Target="../diagrams/layout2.xml"/><Relationship Id="rId9" Type="http://schemas.openxmlformats.org/officeDocument/2006/relationships/image" Target="../media/image111.png"/></Relationships>
</file>

<file path=ppt/slides/_rels/slide7.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7.png"/><Relationship Id="rId18" Type="http://schemas.openxmlformats.org/officeDocument/2006/relationships/image" Target="../media/image122.sv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7.png"/><Relationship Id="rId17" Type="http://schemas.openxmlformats.org/officeDocument/2006/relationships/image" Target="../media/image121.png"/><Relationship Id="rId2" Type="http://schemas.openxmlformats.org/officeDocument/2006/relationships/notesSlide" Target="../notesSlides/notesSlide7.xml"/><Relationship Id="rId16" Type="http://schemas.openxmlformats.org/officeDocument/2006/relationships/image" Target="../media/image120.svg"/><Relationship Id="rId1" Type="http://schemas.openxmlformats.org/officeDocument/2006/relationships/slideLayout" Target="../slideLayouts/slideLayout33.xml"/><Relationship Id="rId6" Type="http://schemas.openxmlformats.org/officeDocument/2006/relationships/diagramColors" Target="../diagrams/colors3.xml"/><Relationship Id="rId11" Type="http://schemas.openxmlformats.org/officeDocument/2006/relationships/image" Target="../media/image116.svg"/><Relationship Id="rId5" Type="http://schemas.openxmlformats.org/officeDocument/2006/relationships/diagramQuickStyle" Target="../diagrams/quickStyle3.xml"/><Relationship Id="rId15" Type="http://schemas.openxmlformats.org/officeDocument/2006/relationships/image" Target="../media/image119.png"/><Relationship Id="rId10" Type="http://schemas.openxmlformats.org/officeDocument/2006/relationships/image" Target="../media/image115.png"/><Relationship Id="rId4" Type="http://schemas.openxmlformats.org/officeDocument/2006/relationships/diagramLayout" Target="../diagrams/layout3.xml"/><Relationship Id="rId9" Type="http://schemas.openxmlformats.org/officeDocument/2006/relationships/image" Target="../media/image114.svg"/><Relationship Id="rId14" Type="http://schemas.openxmlformats.org/officeDocument/2006/relationships/image" Target="../media/image118.svg"/></Relationships>
</file>

<file path=ppt/slides/_rels/slide8.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diagramColors" Target="../diagrams/colors5.xml"/><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diagramQuickStyle" Target="../diagrams/quickStyle5.xml"/><Relationship Id="rId2" Type="http://schemas.openxmlformats.org/officeDocument/2006/relationships/notesSlide" Target="../notesSlides/notesSlide8.xml"/><Relationship Id="rId1" Type="http://schemas.openxmlformats.org/officeDocument/2006/relationships/slideLayout" Target="../slideLayouts/slideLayout30.xml"/><Relationship Id="rId6" Type="http://schemas.openxmlformats.org/officeDocument/2006/relationships/diagramColors" Target="../diagrams/colors4.xml"/><Relationship Id="rId11" Type="http://schemas.openxmlformats.org/officeDocument/2006/relationships/diagramLayout" Target="../diagrams/layout5.xml"/><Relationship Id="rId5" Type="http://schemas.openxmlformats.org/officeDocument/2006/relationships/diagramQuickStyle" Target="../diagrams/quickStyle4.xml"/><Relationship Id="rId15" Type="http://schemas.openxmlformats.org/officeDocument/2006/relationships/image" Target="../media/image125.jpeg"/><Relationship Id="rId10" Type="http://schemas.openxmlformats.org/officeDocument/2006/relationships/diagramData" Target="../diagrams/data5.xml"/><Relationship Id="rId4" Type="http://schemas.openxmlformats.org/officeDocument/2006/relationships/diagramLayout" Target="../diagrams/layout4.xml"/><Relationship Id="rId9" Type="http://schemas.openxmlformats.org/officeDocument/2006/relationships/image" Target="../media/image124.png"/><Relationship Id="rId14" Type="http://schemas.microsoft.com/office/2007/relationships/diagramDrawing" Target="../diagrams/drawing5.xml"/></Relationships>
</file>

<file path=ppt/slides/_rels/slide9.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30.xml"/><Relationship Id="rId6" Type="http://schemas.openxmlformats.org/officeDocument/2006/relationships/diagramColors" Target="../diagrams/colors6.xml"/><Relationship Id="rId5" Type="http://schemas.openxmlformats.org/officeDocument/2006/relationships/diagramQuickStyle" Target="../diagrams/quickStyle6.xml"/><Relationship Id="rId10" Type="http://schemas.openxmlformats.org/officeDocument/2006/relationships/image" Target="../media/image128.jpeg"/><Relationship Id="rId4" Type="http://schemas.openxmlformats.org/officeDocument/2006/relationships/diagramLayout" Target="../diagrams/layout6.xml"/><Relationship Id="rId9" Type="http://schemas.openxmlformats.org/officeDocument/2006/relationships/image" Target="../media/image1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A842DB-54AA-7581-A743-9B7026C1E872}"/>
              </a:ext>
            </a:extLst>
          </p:cNvPr>
          <p:cNvGraphicFramePr>
            <a:graphicFrameLocks noChangeAspect="1"/>
          </p:cNvGraphicFramePr>
          <p:nvPr>
            <p:custDataLst>
              <p:tags r:id="rId1"/>
            </p:custDataLst>
            <p:extLst>
              <p:ext uri="{D42A27DB-BD31-4B8C-83A1-F6EECF244321}">
                <p14:modId xmlns:p14="http://schemas.microsoft.com/office/powerpoint/2010/main" val="3011383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95A842DB-54AA-7581-A743-9B7026C1E8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507B019-46AD-2778-F99E-3F6A79106C99}"/>
              </a:ext>
            </a:extLst>
          </p:cNvPr>
          <p:cNvSpPr>
            <a:spLocks noGrp="1"/>
          </p:cNvSpPr>
          <p:nvPr>
            <p:ph type="ctrTitle"/>
          </p:nvPr>
        </p:nvSpPr>
        <p:spPr>
          <a:xfrm>
            <a:off x="441068" y="933625"/>
            <a:ext cx="10960100" cy="1643580"/>
          </a:xfrm>
        </p:spPr>
        <p:txBody>
          <a:bodyPr vert="horz" anchor="t" anchorCtr="0"/>
          <a:lstStyle/>
          <a:p>
            <a:r>
              <a:rPr lang="en-US" sz="3600" dirty="0">
                <a:latin typeface="+mj-lt"/>
              </a:rPr>
              <a:t>Accès aux nouveaux antibiotiques dans les pays à revenu faible et intermédiaire : </a:t>
            </a:r>
            <a:br>
              <a:rPr lang="en-CH" sz="3600" dirty="0">
                <a:latin typeface="+mj-lt"/>
              </a:rPr>
            </a:br>
            <a:r>
              <a:rPr lang="en-US" sz="3600" dirty="0">
                <a:latin typeface="+mj-lt"/>
              </a:rPr>
              <a:t>Questions </a:t>
            </a:r>
            <a:r>
              <a:rPr lang="en-US" sz="3600" dirty="0" err="1">
                <a:latin typeface="+mj-lt"/>
              </a:rPr>
              <a:t>médicales</a:t>
            </a:r>
            <a:r>
              <a:rPr lang="en-US" sz="3600" dirty="0">
                <a:latin typeface="+mj-lt"/>
              </a:rPr>
              <a:t>, opérationnelles et éthiques</a:t>
            </a:r>
            <a:endParaRPr lang="en-GB" sz="3600" dirty="0">
              <a:latin typeface="+mj-lt"/>
            </a:endParaRPr>
          </a:p>
        </p:txBody>
      </p:sp>
      <p:sp>
        <p:nvSpPr>
          <p:cNvPr id="4" name="Subtitle 3">
            <a:extLst>
              <a:ext uri="{FF2B5EF4-FFF2-40B4-BE49-F238E27FC236}">
                <a16:creationId xmlns:a16="http://schemas.microsoft.com/office/drawing/2014/main" id="{1DE2F448-DA1A-BD31-9DA0-8BB440BC14D8}"/>
              </a:ext>
            </a:extLst>
          </p:cNvPr>
          <p:cNvSpPr>
            <a:spLocks noGrp="1"/>
          </p:cNvSpPr>
          <p:nvPr>
            <p:ph type="subTitle" idx="1"/>
          </p:nvPr>
        </p:nvSpPr>
        <p:spPr>
          <a:xfrm>
            <a:off x="441068" y="3131545"/>
            <a:ext cx="11369014" cy="1655762"/>
          </a:xfrm>
        </p:spPr>
        <p:txBody>
          <a:bodyPr/>
          <a:lstStyle/>
          <a:p>
            <a:r>
              <a:rPr lang="es-ES" sz="2400" dirty="0"/>
              <a:t>Fernando Pascual, </a:t>
            </a:r>
            <a:r>
              <a:rPr lang="es-ES" sz="2400" dirty="0" err="1"/>
              <a:t>PharmD</a:t>
            </a:r>
            <a:r>
              <a:rPr lang="es-ES" sz="2400" dirty="0"/>
              <a:t>, MPH</a:t>
            </a:r>
            <a:endParaRPr lang="en-CH" sz="2400" dirty="0"/>
          </a:p>
          <a:p>
            <a:r>
              <a:rPr lang="es-ES" sz="2400" dirty="0"/>
              <a:t>R&amp;D Access </a:t>
            </a:r>
            <a:r>
              <a:rPr lang="es-ES" sz="2400" dirty="0" err="1"/>
              <a:t>Development</a:t>
            </a:r>
            <a:r>
              <a:rPr lang="es-ES" sz="2400" dirty="0"/>
              <a:t> Lead</a:t>
            </a:r>
          </a:p>
          <a:p>
            <a:r>
              <a:rPr lang="fr-FR" sz="2400" b="1" dirty="0"/>
              <a:t>Bon Usage des Antibiotiques dans les Pays à Revenu Faible ou Intermédiaire</a:t>
            </a:r>
            <a:endParaRPr lang="en-US" sz="2400" b="1" dirty="0"/>
          </a:p>
        </p:txBody>
      </p:sp>
    </p:spTree>
    <p:extLst>
      <p:ext uri="{BB962C8B-B14F-4D97-AF65-F5344CB8AC3E}">
        <p14:creationId xmlns:p14="http://schemas.microsoft.com/office/powerpoint/2010/main" val="4098186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C6CC4-D677-1191-08FE-FF0408119C0C}"/>
              </a:ext>
            </a:extLst>
          </p:cNvPr>
          <p:cNvSpPr>
            <a:spLocks noGrp="1"/>
          </p:cNvSpPr>
          <p:nvPr>
            <p:ph type="ctrTitle"/>
          </p:nvPr>
        </p:nvSpPr>
        <p:spPr/>
        <p:txBody>
          <a:bodyPr>
            <a:normAutofit fontScale="90000"/>
          </a:bodyPr>
          <a:lstStyle/>
          <a:p>
            <a:r>
              <a:rPr lang="en-CH" dirty="0"/>
              <a:t>Une fois que les antibiotiques sont disponibles, comment pouvons-nous renforcer leur accès approprié ? </a:t>
            </a:r>
            <a:endParaRPr lang="en-US" dirty="0"/>
          </a:p>
        </p:txBody>
      </p:sp>
      <p:sp>
        <p:nvSpPr>
          <p:cNvPr id="3" name="Subtitle 2">
            <a:extLst>
              <a:ext uri="{FF2B5EF4-FFF2-40B4-BE49-F238E27FC236}">
                <a16:creationId xmlns:a16="http://schemas.microsoft.com/office/drawing/2014/main" id="{A1566A84-393F-8A94-8528-7ECF257FD42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182489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5A603-11A0-1A7A-5255-ACD7A0B904D2}"/>
              </a:ext>
            </a:extLst>
          </p:cNvPr>
          <p:cNvSpPr>
            <a:spLocks noGrp="1"/>
          </p:cNvSpPr>
          <p:nvPr>
            <p:ph type="title"/>
          </p:nvPr>
        </p:nvSpPr>
        <p:spPr/>
        <p:txBody>
          <a:bodyPr/>
          <a:lstStyle/>
          <a:p>
            <a:r>
              <a:rPr lang="en-CH" sz="3200" dirty="0"/>
              <a:t>Que pouvons-nous apprendre de la </a:t>
            </a:r>
            <a:r>
              <a:rPr lang="es-ES" sz="3200" dirty="0"/>
              <a:t>MDR TB</a:t>
            </a:r>
            <a:r>
              <a:rPr lang="en-CH" sz="3200" dirty="0"/>
              <a:t>: introduction et utilisation appropriée de la bédaquiline</a:t>
            </a:r>
            <a:endParaRPr lang="en-US" sz="3200" dirty="0"/>
          </a:p>
        </p:txBody>
      </p:sp>
      <p:graphicFrame>
        <p:nvGraphicFramePr>
          <p:cNvPr id="3" name="Diagram 2">
            <a:extLst>
              <a:ext uri="{FF2B5EF4-FFF2-40B4-BE49-F238E27FC236}">
                <a16:creationId xmlns:a16="http://schemas.microsoft.com/office/drawing/2014/main" id="{6A104394-44F3-D03F-15EB-BB68F0E32D03}"/>
              </a:ext>
            </a:extLst>
          </p:cNvPr>
          <p:cNvGraphicFramePr/>
          <p:nvPr>
            <p:extLst>
              <p:ext uri="{D42A27DB-BD31-4B8C-83A1-F6EECF244321}">
                <p14:modId xmlns:p14="http://schemas.microsoft.com/office/powerpoint/2010/main" val="238305004"/>
              </p:ext>
            </p:extLst>
          </p:nvPr>
        </p:nvGraphicFramePr>
        <p:xfrm>
          <a:off x="1571223" y="1712891"/>
          <a:ext cx="9195515" cy="4881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E2F99C99-BCF8-C29C-B98B-C4F32FD4B9A6}"/>
              </a:ext>
            </a:extLst>
          </p:cNvPr>
          <p:cNvSpPr txBox="1"/>
          <p:nvPr/>
        </p:nvSpPr>
        <p:spPr>
          <a:xfrm>
            <a:off x="154547" y="6403214"/>
            <a:ext cx="388942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400" b="0" i="0" u="none" strike="noStrike" kern="1200" cap="none" spc="0" normalizeH="0" baseline="0" noProof="0" dirty="0" err="1">
                <a:ln>
                  <a:noFill/>
                </a:ln>
                <a:solidFill>
                  <a:srgbClr val="0B1E2F"/>
                </a:solidFill>
                <a:effectLst/>
                <a:uLnTx/>
                <a:uFillTx/>
                <a:latin typeface="Arial" panose="020B0604020202020204"/>
                <a:ea typeface="+mn-ea"/>
                <a:cs typeface="+mn-cs"/>
              </a:rPr>
              <a:t>Guglielmetti </a:t>
            </a:r>
            <a:r>
              <a:rPr kumimoji="0" lang="en-CH" sz="1400" b="0" i="0" u="none" strike="noStrike" kern="1200" cap="none" spc="0" normalizeH="0" baseline="0" noProof="0" dirty="0">
                <a:ln>
                  <a:noFill/>
                </a:ln>
                <a:solidFill>
                  <a:srgbClr val="0B1E2F"/>
                </a:solidFill>
                <a:effectLst/>
                <a:uLnTx/>
                <a:uFillTx/>
                <a:latin typeface="Arial" panose="020B0604020202020204"/>
                <a:ea typeface="+mn-ea"/>
                <a:cs typeface="+mn-cs"/>
              </a:rPr>
              <a:t>et al. Int J </a:t>
            </a:r>
            <a:r>
              <a:rPr kumimoji="0" lang="en-CH" sz="1400" b="0" i="0" u="none" strike="noStrike" kern="1200" cap="none" spc="0" normalizeH="0" baseline="0" noProof="0" dirty="0" err="1">
                <a:ln>
                  <a:noFill/>
                </a:ln>
                <a:solidFill>
                  <a:srgbClr val="0B1E2F"/>
                </a:solidFill>
                <a:effectLst/>
                <a:uLnTx/>
                <a:uFillTx/>
                <a:latin typeface="Arial" panose="020B0604020202020204"/>
                <a:ea typeface="+mn-ea"/>
                <a:cs typeface="+mn-cs"/>
              </a:rPr>
              <a:t>Tuberc </a:t>
            </a:r>
            <a:r>
              <a:rPr kumimoji="0" lang="en-CH" sz="1400" b="0" i="0" u="none" strike="noStrike" kern="1200" cap="none" spc="0" normalizeH="0" baseline="0" noProof="0" dirty="0">
                <a:ln>
                  <a:noFill/>
                </a:ln>
                <a:solidFill>
                  <a:srgbClr val="0B1E2F"/>
                </a:solidFill>
                <a:effectLst/>
                <a:uLnTx/>
                <a:uFillTx/>
                <a:latin typeface="Arial" panose="020B0604020202020204"/>
                <a:ea typeface="+mn-ea"/>
                <a:cs typeface="+mn-cs"/>
              </a:rPr>
              <a:t>Lung Dis 2017</a:t>
            </a:r>
            <a:endParaRPr kumimoji="0" lang="en-US" sz="1400" b="0" i="0" u="none" strike="noStrike" kern="1200" cap="none" spc="0" normalizeH="0" baseline="0" noProof="0" dirty="0">
              <a:ln>
                <a:noFill/>
              </a:ln>
              <a:solidFill>
                <a:srgbClr val="0B1E2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457750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519AF-2EB3-D88E-B21F-4090AE2415D3}"/>
              </a:ext>
            </a:extLst>
          </p:cNvPr>
          <p:cNvSpPr>
            <a:spLocks noGrp="1"/>
          </p:cNvSpPr>
          <p:nvPr>
            <p:ph type="title"/>
          </p:nvPr>
        </p:nvSpPr>
        <p:spPr>
          <a:xfrm>
            <a:off x="608542" y="109206"/>
            <a:ext cx="10974916" cy="968997"/>
          </a:xfrm>
        </p:spPr>
        <p:txBody>
          <a:bodyPr/>
          <a:lstStyle/>
          <a:p>
            <a:r>
              <a:rPr lang="en-CH" dirty="0"/>
              <a:t>La gestion responsable, c'est l'accès</a:t>
            </a:r>
            <a:endParaRPr lang="en-US" dirty="0"/>
          </a:p>
        </p:txBody>
      </p:sp>
      <p:pic>
        <p:nvPicPr>
          <p:cNvPr id="3" name="Graphic 1">
            <a:extLst>
              <a:ext uri="{FF2B5EF4-FFF2-40B4-BE49-F238E27FC236}">
                <a16:creationId xmlns:a16="http://schemas.microsoft.com/office/drawing/2014/main" id="{1B8CCDAD-6A9C-A943-E222-6FC37B92AD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9149" y="1576719"/>
            <a:ext cx="10275195" cy="5172075"/>
          </a:xfrm>
          <a:prstGeom prst="rect">
            <a:avLst/>
          </a:prstGeom>
        </p:spPr>
      </p:pic>
      <p:sp>
        <p:nvSpPr>
          <p:cNvPr id="4" name="TextBox 3">
            <a:extLst>
              <a:ext uri="{FF2B5EF4-FFF2-40B4-BE49-F238E27FC236}">
                <a16:creationId xmlns:a16="http://schemas.microsoft.com/office/drawing/2014/main" id="{0DB70095-89D0-8530-B6D9-97B7D5291343}"/>
              </a:ext>
            </a:extLst>
          </p:cNvPr>
          <p:cNvSpPr txBox="1"/>
          <p:nvPr/>
        </p:nvSpPr>
        <p:spPr>
          <a:xfrm>
            <a:off x="4185634" y="6426558"/>
            <a:ext cx="36318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400" b="0" i="0" u="none" strike="noStrike" kern="1200" cap="none" spc="0" normalizeH="0" baseline="0" noProof="0" dirty="0">
                <a:ln>
                  <a:noFill/>
                </a:ln>
                <a:solidFill>
                  <a:srgbClr val="0B1E2F"/>
                </a:solidFill>
                <a:effectLst/>
                <a:uLnTx/>
                <a:uFillTx/>
                <a:latin typeface="Arial" panose="020B0604020202020204"/>
                <a:ea typeface="+mn-ea"/>
                <a:cs typeface="+mn-cs"/>
              </a:rPr>
              <a:t>Cohn et al. Lancet ID, sous presse</a:t>
            </a:r>
            <a:endParaRPr kumimoji="0" lang="en-US" sz="1400" b="0" i="0" u="none" strike="noStrike" kern="1200" cap="none" spc="0" normalizeH="0" baseline="0" noProof="0" dirty="0">
              <a:ln>
                <a:noFill/>
              </a:ln>
              <a:solidFill>
                <a:srgbClr val="0B1E2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05136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09361D26-110C-1F70-BE02-43D01AB9ACFF}"/>
              </a:ext>
            </a:extLst>
          </p:cNvPr>
          <p:cNvGraphicFramePr/>
          <p:nvPr>
            <p:extLst>
              <p:ext uri="{D42A27DB-BD31-4B8C-83A1-F6EECF244321}">
                <p14:modId xmlns:p14="http://schemas.microsoft.com/office/powerpoint/2010/main" val="3889236772"/>
              </p:ext>
            </p:extLst>
          </p:nvPr>
        </p:nvGraphicFramePr>
        <p:xfrm>
          <a:off x="1983346" y="-26035"/>
          <a:ext cx="8023539" cy="68840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5FA8D518-F5E4-498F-8820-D1BBFF5D0B2A}"/>
              </a:ext>
            </a:extLst>
          </p:cNvPr>
          <p:cNvSpPr txBox="1"/>
          <p:nvPr/>
        </p:nvSpPr>
        <p:spPr>
          <a:xfrm>
            <a:off x="103031" y="5934670"/>
            <a:ext cx="158410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400" b="0" i="0" u="none" strike="noStrike" kern="1200" cap="none" spc="0" normalizeH="0" baseline="0" noProof="0" dirty="0">
                <a:ln>
                  <a:noFill/>
                </a:ln>
                <a:solidFill>
                  <a:srgbClr val="0B1E2F"/>
                </a:solidFill>
                <a:effectLst/>
                <a:uLnTx/>
                <a:uFillTx/>
                <a:latin typeface="Arial" panose="020B0604020202020204"/>
                <a:ea typeface="+mn-ea"/>
                <a:cs typeface="+mn-cs"/>
              </a:rPr>
              <a:t>Cohn et al. Lancet ID, </a:t>
            </a:r>
            <a:r>
              <a:rPr kumimoji="0" lang="es-ES" sz="1400" b="0" i="0" u="none" strike="noStrike" kern="1200" cap="none" spc="0" normalizeH="0" baseline="0" noProof="0" dirty="0">
                <a:ln>
                  <a:noFill/>
                </a:ln>
                <a:solidFill>
                  <a:srgbClr val="0B1E2F"/>
                </a:solidFill>
                <a:effectLst/>
                <a:uLnTx/>
                <a:uFillTx/>
                <a:latin typeface="Arial" panose="020B0604020202020204"/>
                <a:ea typeface="+mn-ea"/>
                <a:cs typeface="+mn-cs"/>
              </a:rPr>
              <a:t>2024</a:t>
            </a:r>
            <a:endParaRPr kumimoji="0" lang="en-US" sz="1400" b="0" i="0" u="none" strike="noStrike" kern="1200" cap="none" spc="0" normalizeH="0" baseline="0" noProof="0" dirty="0">
              <a:ln>
                <a:noFill/>
              </a:ln>
              <a:solidFill>
                <a:srgbClr val="0B1E2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115913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0FCA2-6F54-1BA9-076E-828A7E61894D}"/>
              </a:ext>
            </a:extLst>
          </p:cNvPr>
          <p:cNvSpPr>
            <a:spLocks noGrp="1"/>
          </p:cNvSpPr>
          <p:nvPr>
            <p:ph type="ctrTitle"/>
          </p:nvPr>
        </p:nvSpPr>
        <p:spPr>
          <a:xfrm>
            <a:off x="1469036" y="1093805"/>
            <a:ext cx="9253928" cy="3149599"/>
          </a:xfrm>
        </p:spPr>
        <p:txBody>
          <a:bodyPr>
            <a:noAutofit/>
          </a:bodyPr>
          <a:lstStyle/>
          <a:p>
            <a:br>
              <a:rPr lang="en-CH" sz="5400" dirty="0">
                <a:latin typeface="Arial"/>
                <a:cs typeface="Arial"/>
              </a:rPr>
            </a:br>
            <a:r>
              <a:rPr lang="en-CH" dirty="0">
                <a:latin typeface="Arial"/>
                <a:cs typeface="Arial"/>
              </a:rPr>
              <a:t>Que peuvent faire des organisations telles que GARDP?</a:t>
            </a:r>
            <a:endParaRPr lang="en-GB" sz="4800" dirty="0">
              <a:latin typeface="Arial"/>
              <a:cs typeface="Arial"/>
            </a:endParaRPr>
          </a:p>
        </p:txBody>
      </p:sp>
    </p:spTree>
    <p:extLst>
      <p:ext uri="{BB962C8B-B14F-4D97-AF65-F5344CB8AC3E}">
        <p14:creationId xmlns:p14="http://schemas.microsoft.com/office/powerpoint/2010/main" val="23329040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3" name="Picture 2152" descr="A picture containing wave, spring, day&#10;&#10;Description automatically generated">
            <a:extLst>
              <a:ext uri="{FF2B5EF4-FFF2-40B4-BE49-F238E27FC236}">
                <a16:creationId xmlns:a16="http://schemas.microsoft.com/office/drawing/2014/main" id="{582CC48F-6573-CE8A-CFCA-3263A33717F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16200000" flipV="1">
            <a:off x="68389" y="4571921"/>
            <a:ext cx="2217691" cy="2354471"/>
          </a:xfrm>
          <a:prstGeom prst="rect">
            <a:avLst/>
          </a:prstGeom>
        </p:spPr>
      </p:pic>
      <p:pic>
        <p:nvPicPr>
          <p:cNvPr id="2154" name="Picture 2153" descr="A picture containing round&#10;&#10;Description automatically generated">
            <a:extLst>
              <a:ext uri="{FF2B5EF4-FFF2-40B4-BE49-F238E27FC236}">
                <a16:creationId xmlns:a16="http://schemas.microsoft.com/office/drawing/2014/main" id="{3406FFF1-19BE-D924-9926-EB837D48D46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flipH="1">
            <a:off x="334399" y="6348417"/>
            <a:ext cx="853879" cy="509585"/>
          </a:xfrm>
          <a:prstGeom prst="rect">
            <a:avLst/>
          </a:prstGeom>
        </p:spPr>
      </p:pic>
      <p:pic>
        <p:nvPicPr>
          <p:cNvPr id="2155" name="Picture 2154">
            <a:extLst>
              <a:ext uri="{FF2B5EF4-FFF2-40B4-BE49-F238E27FC236}">
                <a16:creationId xmlns:a16="http://schemas.microsoft.com/office/drawing/2014/main" id="{EC6F8BFF-9F9A-2157-939D-FFD5125619F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flipH="1">
            <a:off x="-199071" y="5152540"/>
            <a:ext cx="963572" cy="1826219"/>
          </a:xfrm>
          <a:prstGeom prst="rect">
            <a:avLst/>
          </a:prstGeom>
        </p:spPr>
      </p:pic>
      <p:sp>
        <p:nvSpPr>
          <p:cNvPr id="2140" name="Freeform: Shape 15">
            <a:extLst>
              <a:ext uri="{FF2B5EF4-FFF2-40B4-BE49-F238E27FC236}">
                <a16:creationId xmlns:a16="http://schemas.microsoft.com/office/drawing/2014/main" id="{CA050BAD-4737-39DB-AA56-DCD8EE2E1A3D}"/>
              </a:ext>
            </a:extLst>
          </p:cNvPr>
          <p:cNvSpPr>
            <a:spLocks/>
          </p:cNvSpPr>
          <p:nvPr/>
        </p:nvSpPr>
        <p:spPr>
          <a:xfrm rot="16200000">
            <a:off x="5372749" y="3401595"/>
            <a:ext cx="1282923" cy="5015098"/>
          </a:xfrm>
          <a:prstGeom prst="roundRect">
            <a:avLst>
              <a:gd name="adj" fmla="val 5985"/>
            </a:avLst>
          </a:prstGeom>
          <a:solidFill>
            <a:schemeClr val="bg1"/>
          </a:solidFill>
          <a:ln w="3175">
            <a:solidFill>
              <a:schemeClr val="accent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sp>
        <p:nvSpPr>
          <p:cNvPr id="2141" name="Freeform: Shape 15">
            <a:extLst>
              <a:ext uri="{FF2B5EF4-FFF2-40B4-BE49-F238E27FC236}">
                <a16:creationId xmlns:a16="http://schemas.microsoft.com/office/drawing/2014/main" id="{A23BBC1B-ADF8-48F0-53F9-7CB182B22250}"/>
              </a:ext>
            </a:extLst>
          </p:cNvPr>
          <p:cNvSpPr/>
          <p:nvPr/>
        </p:nvSpPr>
        <p:spPr>
          <a:xfrm rot="16200000">
            <a:off x="5482593" y="3545377"/>
            <a:ext cx="1040282" cy="4816646"/>
          </a:xfrm>
          <a:prstGeom prst="roundRect">
            <a:avLst>
              <a:gd name="adj" fmla="val 10103"/>
            </a:avLst>
          </a:prstGeom>
          <a:solidFill>
            <a:schemeClr val="accent3">
              <a:lumMod val="20000"/>
              <a:lumOff val="80000"/>
              <a:alpha val="37947"/>
            </a:schemeClr>
          </a:solidFill>
          <a:ln w="3175">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sp>
        <p:nvSpPr>
          <p:cNvPr id="2137" name="Freeform: Shape 15">
            <a:extLst>
              <a:ext uri="{FF2B5EF4-FFF2-40B4-BE49-F238E27FC236}">
                <a16:creationId xmlns:a16="http://schemas.microsoft.com/office/drawing/2014/main" id="{4A3A4772-D449-9712-4915-EF7E49161FDF}"/>
              </a:ext>
            </a:extLst>
          </p:cNvPr>
          <p:cNvSpPr>
            <a:spLocks/>
          </p:cNvSpPr>
          <p:nvPr/>
        </p:nvSpPr>
        <p:spPr>
          <a:xfrm rot="5400000">
            <a:off x="5445315" y="-159048"/>
            <a:ext cx="1137789" cy="5015098"/>
          </a:xfrm>
          <a:prstGeom prst="roundRect">
            <a:avLst>
              <a:gd name="adj" fmla="val 5985"/>
            </a:avLst>
          </a:prstGeom>
          <a:solidFill>
            <a:schemeClr val="bg1"/>
          </a:solidFill>
          <a:ln w="3175">
            <a:solidFill>
              <a:schemeClr val="accent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sp>
        <p:nvSpPr>
          <p:cNvPr id="2138" name="Freeform: Shape 15">
            <a:extLst>
              <a:ext uri="{FF2B5EF4-FFF2-40B4-BE49-F238E27FC236}">
                <a16:creationId xmlns:a16="http://schemas.microsoft.com/office/drawing/2014/main" id="{E523AF28-5A8B-C863-1148-6B15D9D292EF}"/>
              </a:ext>
            </a:extLst>
          </p:cNvPr>
          <p:cNvSpPr/>
          <p:nvPr/>
        </p:nvSpPr>
        <p:spPr>
          <a:xfrm rot="5400000">
            <a:off x="5576485" y="-75130"/>
            <a:ext cx="898405" cy="4816646"/>
          </a:xfrm>
          <a:prstGeom prst="roundRect">
            <a:avLst>
              <a:gd name="adj" fmla="val 10103"/>
            </a:avLst>
          </a:prstGeom>
          <a:solidFill>
            <a:schemeClr val="accent3">
              <a:lumMod val="20000"/>
              <a:lumOff val="80000"/>
              <a:alpha val="37947"/>
            </a:schemeClr>
          </a:solidFill>
          <a:ln w="3175">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sp>
        <p:nvSpPr>
          <p:cNvPr id="2133" name="Freeform: Shape 15">
            <a:extLst>
              <a:ext uri="{FF2B5EF4-FFF2-40B4-BE49-F238E27FC236}">
                <a16:creationId xmlns:a16="http://schemas.microsoft.com/office/drawing/2014/main" id="{4A2BF4AE-9B50-03E5-FA85-08BDEA15704E}"/>
              </a:ext>
            </a:extLst>
          </p:cNvPr>
          <p:cNvSpPr>
            <a:spLocks/>
          </p:cNvSpPr>
          <p:nvPr/>
        </p:nvSpPr>
        <p:spPr>
          <a:xfrm rot="10800000">
            <a:off x="8681340" y="3075277"/>
            <a:ext cx="2400591" cy="2087439"/>
          </a:xfrm>
          <a:prstGeom prst="roundRect">
            <a:avLst>
              <a:gd name="adj" fmla="val 5985"/>
            </a:avLst>
          </a:prstGeom>
          <a:solidFill>
            <a:schemeClr val="bg1"/>
          </a:solidFill>
          <a:ln w="3175">
            <a:solidFill>
              <a:schemeClr val="accent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sp>
        <p:nvSpPr>
          <p:cNvPr id="2134" name="Freeform: Shape 15">
            <a:extLst>
              <a:ext uri="{FF2B5EF4-FFF2-40B4-BE49-F238E27FC236}">
                <a16:creationId xmlns:a16="http://schemas.microsoft.com/office/drawing/2014/main" id="{6D8400BF-DE10-E119-14ED-9CE8D27825F4}"/>
              </a:ext>
            </a:extLst>
          </p:cNvPr>
          <p:cNvSpPr/>
          <p:nvPr/>
        </p:nvSpPr>
        <p:spPr>
          <a:xfrm rot="10800000">
            <a:off x="9009134" y="3167390"/>
            <a:ext cx="2072796" cy="1907466"/>
          </a:xfrm>
          <a:prstGeom prst="roundRect">
            <a:avLst>
              <a:gd name="adj" fmla="val 10103"/>
            </a:avLst>
          </a:prstGeom>
          <a:solidFill>
            <a:schemeClr val="accent3">
              <a:lumMod val="20000"/>
              <a:lumOff val="80000"/>
              <a:alpha val="37947"/>
            </a:schemeClr>
          </a:solidFill>
          <a:ln w="3175">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sp>
        <p:nvSpPr>
          <p:cNvPr id="11" name="Freeform: Shape 15">
            <a:extLst>
              <a:ext uri="{FF2B5EF4-FFF2-40B4-BE49-F238E27FC236}">
                <a16:creationId xmlns:a16="http://schemas.microsoft.com/office/drawing/2014/main" id="{15B4495D-5601-25C5-8E51-A699DA845CCE}"/>
              </a:ext>
            </a:extLst>
          </p:cNvPr>
          <p:cNvSpPr>
            <a:spLocks/>
          </p:cNvSpPr>
          <p:nvPr/>
        </p:nvSpPr>
        <p:spPr>
          <a:xfrm>
            <a:off x="1524487" y="3171827"/>
            <a:ext cx="1982174" cy="2218299"/>
          </a:xfrm>
          <a:prstGeom prst="roundRect">
            <a:avLst>
              <a:gd name="adj" fmla="val 5985"/>
            </a:avLst>
          </a:prstGeom>
          <a:solidFill>
            <a:schemeClr val="bg1"/>
          </a:solidFill>
          <a:ln w="3175">
            <a:solidFill>
              <a:schemeClr val="accent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sp>
        <p:nvSpPr>
          <p:cNvPr id="12" name="Freeform: Shape 15">
            <a:extLst>
              <a:ext uri="{FF2B5EF4-FFF2-40B4-BE49-F238E27FC236}">
                <a16:creationId xmlns:a16="http://schemas.microsoft.com/office/drawing/2014/main" id="{01C15F9C-F4C8-1505-5388-1E3B86A23A02}"/>
              </a:ext>
            </a:extLst>
          </p:cNvPr>
          <p:cNvSpPr/>
          <p:nvPr/>
        </p:nvSpPr>
        <p:spPr>
          <a:xfrm>
            <a:off x="1609295" y="3171827"/>
            <a:ext cx="1590837" cy="2218299"/>
          </a:xfrm>
          <a:prstGeom prst="roundRect">
            <a:avLst>
              <a:gd name="adj" fmla="val 10103"/>
            </a:avLst>
          </a:prstGeom>
          <a:solidFill>
            <a:schemeClr val="accent3">
              <a:lumMod val="20000"/>
              <a:lumOff val="80000"/>
              <a:alpha val="37947"/>
            </a:schemeClr>
          </a:solidFill>
          <a:ln w="3175">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sp>
        <p:nvSpPr>
          <p:cNvPr id="13" name="Double Bracket 42">
            <a:extLst>
              <a:ext uri="{FF2B5EF4-FFF2-40B4-BE49-F238E27FC236}">
                <a16:creationId xmlns:a16="http://schemas.microsoft.com/office/drawing/2014/main" id="{8A9110FC-8A3F-D21E-B1EA-F4696DA3BEE0}"/>
              </a:ext>
            </a:extLst>
          </p:cNvPr>
          <p:cNvSpPr/>
          <p:nvPr/>
        </p:nvSpPr>
        <p:spPr>
          <a:xfrm>
            <a:off x="3617366" y="3076730"/>
            <a:ext cx="2016156" cy="2087440"/>
          </a:xfrm>
          <a:custGeom>
            <a:avLst/>
            <a:gdLst>
              <a:gd name="connsiteX0" fmla="*/ 0 w 1786508"/>
              <a:gd name="connsiteY0" fmla="*/ 181634 h 1881826"/>
              <a:gd name="connsiteX1" fmla="*/ 181634 w 1786508"/>
              <a:gd name="connsiteY1" fmla="*/ 0 h 1881826"/>
              <a:gd name="connsiteX2" fmla="*/ 1604874 w 1786508"/>
              <a:gd name="connsiteY2" fmla="*/ 0 h 1881826"/>
              <a:gd name="connsiteX3" fmla="*/ 1786508 w 1786508"/>
              <a:gd name="connsiteY3" fmla="*/ 181634 h 1881826"/>
              <a:gd name="connsiteX4" fmla="*/ 1786508 w 1786508"/>
              <a:gd name="connsiteY4" fmla="*/ 1700192 h 1881826"/>
              <a:gd name="connsiteX5" fmla="*/ 1604874 w 1786508"/>
              <a:gd name="connsiteY5" fmla="*/ 1881826 h 1881826"/>
              <a:gd name="connsiteX6" fmla="*/ 181634 w 1786508"/>
              <a:gd name="connsiteY6" fmla="*/ 1881826 h 1881826"/>
              <a:gd name="connsiteX7" fmla="*/ 0 w 1786508"/>
              <a:gd name="connsiteY7" fmla="*/ 1700192 h 1881826"/>
              <a:gd name="connsiteX8" fmla="*/ 0 w 1786508"/>
              <a:gd name="connsiteY8"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 name="connsiteX4" fmla="*/ 1604874 w 1786508"/>
              <a:gd name="connsiteY4" fmla="*/ 0 h 1881826"/>
              <a:gd name="connsiteX5" fmla="*/ 1786508 w 1786508"/>
              <a:gd name="connsiteY5" fmla="*/ 181634 h 1881826"/>
              <a:gd name="connsiteX6" fmla="*/ 1786508 w 1786508"/>
              <a:gd name="connsiteY6" fmla="*/ 1700192 h 1881826"/>
              <a:gd name="connsiteX7" fmla="*/ 1604874 w 1786508"/>
              <a:gd name="connsiteY7" fmla="*/ 1881826 h 1881826"/>
              <a:gd name="connsiteX0" fmla="*/ 0 w 1786508"/>
              <a:gd name="connsiteY0" fmla="*/ 181634 h 1881826"/>
              <a:gd name="connsiteX1" fmla="*/ 181634 w 1786508"/>
              <a:gd name="connsiteY1" fmla="*/ 0 h 1881826"/>
              <a:gd name="connsiteX2" fmla="*/ 1604874 w 1786508"/>
              <a:gd name="connsiteY2" fmla="*/ 0 h 1881826"/>
              <a:gd name="connsiteX3" fmla="*/ 1786508 w 1786508"/>
              <a:gd name="connsiteY3" fmla="*/ 181634 h 1881826"/>
              <a:gd name="connsiteX4" fmla="*/ 1786508 w 1786508"/>
              <a:gd name="connsiteY4" fmla="*/ 1700192 h 1881826"/>
              <a:gd name="connsiteX5" fmla="*/ 1604874 w 1786508"/>
              <a:gd name="connsiteY5" fmla="*/ 1881826 h 1881826"/>
              <a:gd name="connsiteX6" fmla="*/ 181634 w 1786508"/>
              <a:gd name="connsiteY6" fmla="*/ 1881826 h 1881826"/>
              <a:gd name="connsiteX7" fmla="*/ 0 w 1786508"/>
              <a:gd name="connsiteY7" fmla="*/ 1700192 h 1881826"/>
              <a:gd name="connsiteX8" fmla="*/ 0 w 1786508"/>
              <a:gd name="connsiteY8"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 name="connsiteX4" fmla="*/ 1604874 w 1786508"/>
              <a:gd name="connsiteY4" fmla="*/ 0 h 1881826"/>
              <a:gd name="connsiteX5" fmla="*/ 1786508 w 1786508"/>
              <a:gd name="connsiteY5" fmla="*/ 181634 h 1881826"/>
              <a:gd name="connsiteX6" fmla="*/ 1604874 w 1786508"/>
              <a:gd name="connsiteY6" fmla="*/ 1881826 h 1881826"/>
              <a:gd name="connsiteX0" fmla="*/ 0 w 1786508"/>
              <a:gd name="connsiteY0" fmla="*/ 181634 h 1881826"/>
              <a:gd name="connsiteX1" fmla="*/ 181634 w 1786508"/>
              <a:gd name="connsiteY1" fmla="*/ 0 h 1881826"/>
              <a:gd name="connsiteX2" fmla="*/ 1604874 w 1786508"/>
              <a:gd name="connsiteY2" fmla="*/ 0 h 1881826"/>
              <a:gd name="connsiteX3" fmla="*/ 1786508 w 1786508"/>
              <a:gd name="connsiteY3" fmla="*/ 181634 h 1881826"/>
              <a:gd name="connsiteX4" fmla="*/ 1786508 w 1786508"/>
              <a:gd name="connsiteY4" fmla="*/ 1700192 h 1881826"/>
              <a:gd name="connsiteX5" fmla="*/ 1604874 w 1786508"/>
              <a:gd name="connsiteY5" fmla="*/ 1881826 h 1881826"/>
              <a:gd name="connsiteX6" fmla="*/ 181634 w 1786508"/>
              <a:gd name="connsiteY6" fmla="*/ 1881826 h 1881826"/>
              <a:gd name="connsiteX7" fmla="*/ 0 w 1786508"/>
              <a:gd name="connsiteY7" fmla="*/ 1700192 h 1881826"/>
              <a:gd name="connsiteX8" fmla="*/ 0 w 1786508"/>
              <a:gd name="connsiteY8"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 name="connsiteX4" fmla="*/ 1604874 w 1786508"/>
              <a:gd name="connsiteY4" fmla="*/ 0 h 1881826"/>
              <a:gd name="connsiteX5" fmla="*/ 1786508 w 1786508"/>
              <a:gd name="connsiteY5" fmla="*/ 181634 h 1881826"/>
              <a:gd name="connsiteX0" fmla="*/ 0 w 1786508"/>
              <a:gd name="connsiteY0" fmla="*/ 181634 h 1881826"/>
              <a:gd name="connsiteX1" fmla="*/ 181634 w 1786508"/>
              <a:gd name="connsiteY1" fmla="*/ 0 h 1881826"/>
              <a:gd name="connsiteX2" fmla="*/ 1604874 w 1786508"/>
              <a:gd name="connsiteY2" fmla="*/ 0 h 1881826"/>
              <a:gd name="connsiteX3" fmla="*/ 1786508 w 1786508"/>
              <a:gd name="connsiteY3" fmla="*/ 181634 h 1881826"/>
              <a:gd name="connsiteX4" fmla="*/ 1786508 w 1786508"/>
              <a:gd name="connsiteY4" fmla="*/ 1700192 h 1881826"/>
              <a:gd name="connsiteX5" fmla="*/ 1604874 w 1786508"/>
              <a:gd name="connsiteY5" fmla="*/ 1881826 h 1881826"/>
              <a:gd name="connsiteX6" fmla="*/ 181634 w 1786508"/>
              <a:gd name="connsiteY6" fmla="*/ 1881826 h 1881826"/>
              <a:gd name="connsiteX7" fmla="*/ 0 w 1786508"/>
              <a:gd name="connsiteY7" fmla="*/ 1700192 h 1881826"/>
              <a:gd name="connsiteX8" fmla="*/ 0 w 1786508"/>
              <a:gd name="connsiteY8"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 name="connsiteX0" fmla="*/ 0 w 1786508"/>
              <a:gd name="connsiteY0" fmla="*/ 181634 h 1881826"/>
              <a:gd name="connsiteX1" fmla="*/ 181634 w 1786508"/>
              <a:gd name="connsiteY1" fmla="*/ 0 h 1881826"/>
              <a:gd name="connsiteX2" fmla="*/ 1786508 w 1786508"/>
              <a:gd name="connsiteY2" fmla="*/ 181634 h 1881826"/>
              <a:gd name="connsiteX3" fmla="*/ 1786508 w 1786508"/>
              <a:gd name="connsiteY3" fmla="*/ 1700192 h 1881826"/>
              <a:gd name="connsiteX4" fmla="*/ 1604874 w 1786508"/>
              <a:gd name="connsiteY4" fmla="*/ 1881826 h 1881826"/>
              <a:gd name="connsiteX5" fmla="*/ 181634 w 1786508"/>
              <a:gd name="connsiteY5" fmla="*/ 1881826 h 1881826"/>
              <a:gd name="connsiteX6" fmla="*/ 0 w 1786508"/>
              <a:gd name="connsiteY6" fmla="*/ 1700192 h 1881826"/>
              <a:gd name="connsiteX7" fmla="*/ 0 w 1786508"/>
              <a:gd name="connsiteY7"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 name="connsiteX0" fmla="*/ 0 w 1786508"/>
              <a:gd name="connsiteY0" fmla="*/ 181634 h 1881826"/>
              <a:gd name="connsiteX1" fmla="*/ 181634 w 1786508"/>
              <a:gd name="connsiteY1" fmla="*/ 0 h 1881826"/>
              <a:gd name="connsiteX2" fmla="*/ 1786508 w 1786508"/>
              <a:gd name="connsiteY2" fmla="*/ 181634 h 1881826"/>
              <a:gd name="connsiteX3" fmla="*/ 1786508 w 1786508"/>
              <a:gd name="connsiteY3" fmla="*/ 1700192 h 1881826"/>
              <a:gd name="connsiteX4" fmla="*/ 719502 w 1786508"/>
              <a:gd name="connsiteY4" fmla="*/ 1881826 h 1881826"/>
              <a:gd name="connsiteX5" fmla="*/ 181634 w 1786508"/>
              <a:gd name="connsiteY5" fmla="*/ 1881826 h 1881826"/>
              <a:gd name="connsiteX6" fmla="*/ 0 w 1786508"/>
              <a:gd name="connsiteY6" fmla="*/ 1700192 h 1881826"/>
              <a:gd name="connsiteX7" fmla="*/ 0 w 1786508"/>
              <a:gd name="connsiteY7"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Lst>
            <a:ahLst/>
            <a:cxnLst>
              <a:cxn ang="0">
                <a:pos x="connsiteX0" y="connsiteY0"/>
              </a:cxn>
              <a:cxn ang="0">
                <a:pos x="connsiteX1" y="connsiteY1"/>
              </a:cxn>
              <a:cxn ang="0">
                <a:pos x="connsiteX2" y="connsiteY2"/>
              </a:cxn>
              <a:cxn ang="0">
                <a:pos x="connsiteX3" y="connsiteY3"/>
              </a:cxn>
            </a:cxnLst>
            <a:rect l="l" t="t" r="r" b="b"/>
            <a:pathLst>
              <a:path w="1786508" h="1881826" stroke="0" extrusionOk="0">
                <a:moveTo>
                  <a:pt x="0" y="181634"/>
                </a:moveTo>
                <a:cubicBezTo>
                  <a:pt x="0" y="81320"/>
                  <a:pt x="81320" y="0"/>
                  <a:pt x="181634" y="0"/>
                </a:cubicBezTo>
                <a:lnTo>
                  <a:pt x="1786508" y="181634"/>
                </a:lnTo>
                <a:lnTo>
                  <a:pt x="1786508" y="1700192"/>
                </a:lnTo>
                <a:cubicBezTo>
                  <a:pt x="1786508" y="1800506"/>
                  <a:pt x="819816" y="1881826"/>
                  <a:pt x="719502" y="1881826"/>
                </a:cubicBezTo>
                <a:lnTo>
                  <a:pt x="181634" y="1881826"/>
                </a:lnTo>
                <a:cubicBezTo>
                  <a:pt x="81320" y="1881826"/>
                  <a:pt x="0" y="1800506"/>
                  <a:pt x="0" y="1700192"/>
                </a:cubicBezTo>
                <a:lnTo>
                  <a:pt x="0" y="181634"/>
                </a:lnTo>
                <a:close/>
              </a:path>
              <a:path w="1786508" h="1881826" fill="none">
                <a:moveTo>
                  <a:pt x="181634" y="1881826"/>
                </a:moveTo>
                <a:cubicBezTo>
                  <a:pt x="81320" y="1881826"/>
                  <a:pt x="0" y="1800506"/>
                  <a:pt x="0" y="1700192"/>
                </a:cubicBezTo>
                <a:lnTo>
                  <a:pt x="0" y="181634"/>
                </a:lnTo>
                <a:cubicBezTo>
                  <a:pt x="0" y="81320"/>
                  <a:pt x="81320" y="0"/>
                  <a:pt x="181634" y="0"/>
                </a:cubicBezTo>
              </a:path>
            </a:pathLst>
          </a:cu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48" name="Double Bracket 42">
            <a:extLst>
              <a:ext uri="{FF2B5EF4-FFF2-40B4-BE49-F238E27FC236}">
                <a16:creationId xmlns:a16="http://schemas.microsoft.com/office/drawing/2014/main" id="{B2E216A0-5304-FDE1-B51F-8DC9EE31DBB9}"/>
              </a:ext>
            </a:extLst>
          </p:cNvPr>
          <p:cNvSpPr/>
          <p:nvPr/>
        </p:nvSpPr>
        <p:spPr>
          <a:xfrm rot="10800000">
            <a:off x="6536908" y="3076730"/>
            <a:ext cx="2016156" cy="2087440"/>
          </a:xfrm>
          <a:custGeom>
            <a:avLst/>
            <a:gdLst>
              <a:gd name="connsiteX0" fmla="*/ 0 w 1786508"/>
              <a:gd name="connsiteY0" fmla="*/ 181634 h 1881826"/>
              <a:gd name="connsiteX1" fmla="*/ 181634 w 1786508"/>
              <a:gd name="connsiteY1" fmla="*/ 0 h 1881826"/>
              <a:gd name="connsiteX2" fmla="*/ 1604874 w 1786508"/>
              <a:gd name="connsiteY2" fmla="*/ 0 h 1881826"/>
              <a:gd name="connsiteX3" fmla="*/ 1786508 w 1786508"/>
              <a:gd name="connsiteY3" fmla="*/ 181634 h 1881826"/>
              <a:gd name="connsiteX4" fmla="*/ 1786508 w 1786508"/>
              <a:gd name="connsiteY4" fmla="*/ 1700192 h 1881826"/>
              <a:gd name="connsiteX5" fmla="*/ 1604874 w 1786508"/>
              <a:gd name="connsiteY5" fmla="*/ 1881826 h 1881826"/>
              <a:gd name="connsiteX6" fmla="*/ 181634 w 1786508"/>
              <a:gd name="connsiteY6" fmla="*/ 1881826 h 1881826"/>
              <a:gd name="connsiteX7" fmla="*/ 0 w 1786508"/>
              <a:gd name="connsiteY7" fmla="*/ 1700192 h 1881826"/>
              <a:gd name="connsiteX8" fmla="*/ 0 w 1786508"/>
              <a:gd name="connsiteY8"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 name="connsiteX4" fmla="*/ 1604874 w 1786508"/>
              <a:gd name="connsiteY4" fmla="*/ 0 h 1881826"/>
              <a:gd name="connsiteX5" fmla="*/ 1786508 w 1786508"/>
              <a:gd name="connsiteY5" fmla="*/ 181634 h 1881826"/>
              <a:gd name="connsiteX6" fmla="*/ 1786508 w 1786508"/>
              <a:gd name="connsiteY6" fmla="*/ 1700192 h 1881826"/>
              <a:gd name="connsiteX7" fmla="*/ 1604874 w 1786508"/>
              <a:gd name="connsiteY7" fmla="*/ 1881826 h 1881826"/>
              <a:gd name="connsiteX0" fmla="*/ 0 w 1786508"/>
              <a:gd name="connsiteY0" fmla="*/ 181634 h 1881826"/>
              <a:gd name="connsiteX1" fmla="*/ 181634 w 1786508"/>
              <a:gd name="connsiteY1" fmla="*/ 0 h 1881826"/>
              <a:gd name="connsiteX2" fmla="*/ 1604874 w 1786508"/>
              <a:gd name="connsiteY2" fmla="*/ 0 h 1881826"/>
              <a:gd name="connsiteX3" fmla="*/ 1786508 w 1786508"/>
              <a:gd name="connsiteY3" fmla="*/ 181634 h 1881826"/>
              <a:gd name="connsiteX4" fmla="*/ 1786508 w 1786508"/>
              <a:gd name="connsiteY4" fmla="*/ 1700192 h 1881826"/>
              <a:gd name="connsiteX5" fmla="*/ 1604874 w 1786508"/>
              <a:gd name="connsiteY5" fmla="*/ 1881826 h 1881826"/>
              <a:gd name="connsiteX6" fmla="*/ 181634 w 1786508"/>
              <a:gd name="connsiteY6" fmla="*/ 1881826 h 1881826"/>
              <a:gd name="connsiteX7" fmla="*/ 0 w 1786508"/>
              <a:gd name="connsiteY7" fmla="*/ 1700192 h 1881826"/>
              <a:gd name="connsiteX8" fmla="*/ 0 w 1786508"/>
              <a:gd name="connsiteY8"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 name="connsiteX4" fmla="*/ 1604874 w 1786508"/>
              <a:gd name="connsiteY4" fmla="*/ 0 h 1881826"/>
              <a:gd name="connsiteX5" fmla="*/ 1786508 w 1786508"/>
              <a:gd name="connsiteY5" fmla="*/ 181634 h 1881826"/>
              <a:gd name="connsiteX6" fmla="*/ 1604874 w 1786508"/>
              <a:gd name="connsiteY6" fmla="*/ 1881826 h 1881826"/>
              <a:gd name="connsiteX0" fmla="*/ 0 w 1786508"/>
              <a:gd name="connsiteY0" fmla="*/ 181634 h 1881826"/>
              <a:gd name="connsiteX1" fmla="*/ 181634 w 1786508"/>
              <a:gd name="connsiteY1" fmla="*/ 0 h 1881826"/>
              <a:gd name="connsiteX2" fmla="*/ 1604874 w 1786508"/>
              <a:gd name="connsiteY2" fmla="*/ 0 h 1881826"/>
              <a:gd name="connsiteX3" fmla="*/ 1786508 w 1786508"/>
              <a:gd name="connsiteY3" fmla="*/ 181634 h 1881826"/>
              <a:gd name="connsiteX4" fmla="*/ 1786508 w 1786508"/>
              <a:gd name="connsiteY4" fmla="*/ 1700192 h 1881826"/>
              <a:gd name="connsiteX5" fmla="*/ 1604874 w 1786508"/>
              <a:gd name="connsiteY5" fmla="*/ 1881826 h 1881826"/>
              <a:gd name="connsiteX6" fmla="*/ 181634 w 1786508"/>
              <a:gd name="connsiteY6" fmla="*/ 1881826 h 1881826"/>
              <a:gd name="connsiteX7" fmla="*/ 0 w 1786508"/>
              <a:gd name="connsiteY7" fmla="*/ 1700192 h 1881826"/>
              <a:gd name="connsiteX8" fmla="*/ 0 w 1786508"/>
              <a:gd name="connsiteY8"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 name="connsiteX4" fmla="*/ 1604874 w 1786508"/>
              <a:gd name="connsiteY4" fmla="*/ 0 h 1881826"/>
              <a:gd name="connsiteX5" fmla="*/ 1786508 w 1786508"/>
              <a:gd name="connsiteY5" fmla="*/ 181634 h 1881826"/>
              <a:gd name="connsiteX0" fmla="*/ 0 w 1786508"/>
              <a:gd name="connsiteY0" fmla="*/ 181634 h 1881826"/>
              <a:gd name="connsiteX1" fmla="*/ 181634 w 1786508"/>
              <a:gd name="connsiteY1" fmla="*/ 0 h 1881826"/>
              <a:gd name="connsiteX2" fmla="*/ 1604874 w 1786508"/>
              <a:gd name="connsiteY2" fmla="*/ 0 h 1881826"/>
              <a:gd name="connsiteX3" fmla="*/ 1786508 w 1786508"/>
              <a:gd name="connsiteY3" fmla="*/ 181634 h 1881826"/>
              <a:gd name="connsiteX4" fmla="*/ 1786508 w 1786508"/>
              <a:gd name="connsiteY4" fmla="*/ 1700192 h 1881826"/>
              <a:gd name="connsiteX5" fmla="*/ 1604874 w 1786508"/>
              <a:gd name="connsiteY5" fmla="*/ 1881826 h 1881826"/>
              <a:gd name="connsiteX6" fmla="*/ 181634 w 1786508"/>
              <a:gd name="connsiteY6" fmla="*/ 1881826 h 1881826"/>
              <a:gd name="connsiteX7" fmla="*/ 0 w 1786508"/>
              <a:gd name="connsiteY7" fmla="*/ 1700192 h 1881826"/>
              <a:gd name="connsiteX8" fmla="*/ 0 w 1786508"/>
              <a:gd name="connsiteY8"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 name="connsiteX0" fmla="*/ 0 w 1786508"/>
              <a:gd name="connsiteY0" fmla="*/ 181634 h 1881826"/>
              <a:gd name="connsiteX1" fmla="*/ 181634 w 1786508"/>
              <a:gd name="connsiteY1" fmla="*/ 0 h 1881826"/>
              <a:gd name="connsiteX2" fmla="*/ 1786508 w 1786508"/>
              <a:gd name="connsiteY2" fmla="*/ 181634 h 1881826"/>
              <a:gd name="connsiteX3" fmla="*/ 1786508 w 1786508"/>
              <a:gd name="connsiteY3" fmla="*/ 1700192 h 1881826"/>
              <a:gd name="connsiteX4" fmla="*/ 1604874 w 1786508"/>
              <a:gd name="connsiteY4" fmla="*/ 1881826 h 1881826"/>
              <a:gd name="connsiteX5" fmla="*/ 181634 w 1786508"/>
              <a:gd name="connsiteY5" fmla="*/ 1881826 h 1881826"/>
              <a:gd name="connsiteX6" fmla="*/ 0 w 1786508"/>
              <a:gd name="connsiteY6" fmla="*/ 1700192 h 1881826"/>
              <a:gd name="connsiteX7" fmla="*/ 0 w 1786508"/>
              <a:gd name="connsiteY7"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 name="connsiteX0" fmla="*/ 0 w 1786508"/>
              <a:gd name="connsiteY0" fmla="*/ 181634 h 1881826"/>
              <a:gd name="connsiteX1" fmla="*/ 181634 w 1786508"/>
              <a:gd name="connsiteY1" fmla="*/ 0 h 1881826"/>
              <a:gd name="connsiteX2" fmla="*/ 1786508 w 1786508"/>
              <a:gd name="connsiteY2" fmla="*/ 181634 h 1881826"/>
              <a:gd name="connsiteX3" fmla="*/ 1786508 w 1786508"/>
              <a:gd name="connsiteY3" fmla="*/ 1700192 h 1881826"/>
              <a:gd name="connsiteX4" fmla="*/ 719502 w 1786508"/>
              <a:gd name="connsiteY4" fmla="*/ 1881826 h 1881826"/>
              <a:gd name="connsiteX5" fmla="*/ 181634 w 1786508"/>
              <a:gd name="connsiteY5" fmla="*/ 1881826 h 1881826"/>
              <a:gd name="connsiteX6" fmla="*/ 0 w 1786508"/>
              <a:gd name="connsiteY6" fmla="*/ 1700192 h 1881826"/>
              <a:gd name="connsiteX7" fmla="*/ 0 w 1786508"/>
              <a:gd name="connsiteY7" fmla="*/ 181634 h 1881826"/>
              <a:gd name="connsiteX0" fmla="*/ 181634 w 1786508"/>
              <a:gd name="connsiteY0" fmla="*/ 1881826 h 1881826"/>
              <a:gd name="connsiteX1" fmla="*/ 0 w 1786508"/>
              <a:gd name="connsiteY1" fmla="*/ 1700192 h 1881826"/>
              <a:gd name="connsiteX2" fmla="*/ 0 w 1786508"/>
              <a:gd name="connsiteY2" fmla="*/ 181634 h 1881826"/>
              <a:gd name="connsiteX3" fmla="*/ 181634 w 1786508"/>
              <a:gd name="connsiteY3" fmla="*/ 0 h 1881826"/>
            </a:gdLst>
            <a:ahLst/>
            <a:cxnLst>
              <a:cxn ang="0">
                <a:pos x="connsiteX0" y="connsiteY0"/>
              </a:cxn>
              <a:cxn ang="0">
                <a:pos x="connsiteX1" y="connsiteY1"/>
              </a:cxn>
              <a:cxn ang="0">
                <a:pos x="connsiteX2" y="connsiteY2"/>
              </a:cxn>
              <a:cxn ang="0">
                <a:pos x="connsiteX3" y="connsiteY3"/>
              </a:cxn>
            </a:cxnLst>
            <a:rect l="l" t="t" r="r" b="b"/>
            <a:pathLst>
              <a:path w="1786508" h="1881826" stroke="0" extrusionOk="0">
                <a:moveTo>
                  <a:pt x="0" y="181634"/>
                </a:moveTo>
                <a:cubicBezTo>
                  <a:pt x="0" y="81320"/>
                  <a:pt x="81320" y="0"/>
                  <a:pt x="181634" y="0"/>
                </a:cubicBezTo>
                <a:lnTo>
                  <a:pt x="1786508" y="181634"/>
                </a:lnTo>
                <a:lnTo>
                  <a:pt x="1786508" y="1700192"/>
                </a:lnTo>
                <a:cubicBezTo>
                  <a:pt x="1786508" y="1800506"/>
                  <a:pt x="819816" y="1881826"/>
                  <a:pt x="719502" y="1881826"/>
                </a:cubicBezTo>
                <a:lnTo>
                  <a:pt x="181634" y="1881826"/>
                </a:lnTo>
                <a:cubicBezTo>
                  <a:pt x="81320" y="1881826"/>
                  <a:pt x="0" y="1800506"/>
                  <a:pt x="0" y="1700192"/>
                </a:cubicBezTo>
                <a:lnTo>
                  <a:pt x="0" y="181634"/>
                </a:lnTo>
                <a:close/>
              </a:path>
              <a:path w="1786508" h="1881826" fill="none">
                <a:moveTo>
                  <a:pt x="181634" y="1881826"/>
                </a:moveTo>
                <a:cubicBezTo>
                  <a:pt x="81320" y="1881826"/>
                  <a:pt x="0" y="1800506"/>
                  <a:pt x="0" y="1700192"/>
                </a:cubicBezTo>
                <a:lnTo>
                  <a:pt x="0" y="181634"/>
                </a:lnTo>
                <a:cubicBezTo>
                  <a:pt x="0" y="81320"/>
                  <a:pt x="81320" y="0"/>
                  <a:pt x="181634" y="0"/>
                </a:cubicBezTo>
              </a:path>
            </a:pathLst>
          </a:cu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grpSp>
        <p:nvGrpSpPr>
          <p:cNvPr id="38" name="Group 37">
            <a:extLst>
              <a:ext uri="{FF2B5EF4-FFF2-40B4-BE49-F238E27FC236}">
                <a16:creationId xmlns:a16="http://schemas.microsoft.com/office/drawing/2014/main" id="{F3EE1B98-3CC4-50F3-2633-A423225157C3}"/>
              </a:ext>
            </a:extLst>
          </p:cNvPr>
          <p:cNvGrpSpPr/>
          <p:nvPr/>
        </p:nvGrpSpPr>
        <p:grpSpPr>
          <a:xfrm>
            <a:off x="4881716" y="2728544"/>
            <a:ext cx="2441910" cy="693471"/>
            <a:chOff x="3143483" y="3397244"/>
            <a:chExt cx="3132626" cy="983297"/>
          </a:xfrm>
        </p:grpSpPr>
        <p:sp>
          <p:nvSpPr>
            <p:cNvPr id="39" name="Rounded Rectangle 38">
              <a:extLst>
                <a:ext uri="{FF2B5EF4-FFF2-40B4-BE49-F238E27FC236}">
                  <a16:creationId xmlns:a16="http://schemas.microsoft.com/office/drawing/2014/main" id="{D67BBE01-C257-C218-2B7C-3EB2DD086332}"/>
                </a:ext>
              </a:extLst>
            </p:cNvPr>
            <p:cNvSpPr/>
            <p:nvPr/>
          </p:nvSpPr>
          <p:spPr>
            <a:xfrm>
              <a:off x="3143483" y="3397244"/>
              <a:ext cx="3132626" cy="983297"/>
            </a:xfrm>
            <a:prstGeom prst="roundRect">
              <a:avLst>
                <a:gd name="adj" fmla="val 5000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B785D79A-FA1C-DABD-8B44-A0C44F4E0073}"/>
                </a:ext>
              </a:extLst>
            </p:cNvPr>
            <p:cNvSpPr>
              <a:spLocks noChangeAspect="1"/>
            </p:cNvSpPr>
            <p:nvPr/>
          </p:nvSpPr>
          <p:spPr>
            <a:xfrm>
              <a:off x="3198802" y="3455004"/>
              <a:ext cx="867776" cy="86777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1" name="Group 40">
            <a:extLst>
              <a:ext uri="{FF2B5EF4-FFF2-40B4-BE49-F238E27FC236}">
                <a16:creationId xmlns:a16="http://schemas.microsoft.com/office/drawing/2014/main" id="{E4EFCC7D-4ECE-4244-1360-2A19D7A3E94F}"/>
              </a:ext>
            </a:extLst>
          </p:cNvPr>
          <p:cNvGrpSpPr/>
          <p:nvPr/>
        </p:nvGrpSpPr>
        <p:grpSpPr>
          <a:xfrm rot="10800000">
            <a:off x="6505603" y="3707005"/>
            <a:ext cx="2441910" cy="693471"/>
            <a:chOff x="3143483" y="3397244"/>
            <a:chExt cx="3132626" cy="983297"/>
          </a:xfrm>
        </p:grpSpPr>
        <p:sp>
          <p:nvSpPr>
            <p:cNvPr id="42" name="Rounded Rectangle 41">
              <a:extLst>
                <a:ext uri="{FF2B5EF4-FFF2-40B4-BE49-F238E27FC236}">
                  <a16:creationId xmlns:a16="http://schemas.microsoft.com/office/drawing/2014/main" id="{A68DE2AD-9100-1136-2CD3-4FDD1F8D36E8}"/>
                </a:ext>
              </a:extLst>
            </p:cNvPr>
            <p:cNvSpPr/>
            <p:nvPr/>
          </p:nvSpPr>
          <p:spPr>
            <a:xfrm>
              <a:off x="3143483" y="3397244"/>
              <a:ext cx="3132626" cy="983297"/>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905E023C-23E2-3CEE-75BA-A88ABF66AE67}"/>
                </a:ext>
              </a:extLst>
            </p:cNvPr>
            <p:cNvSpPr>
              <a:spLocks noChangeAspect="1"/>
            </p:cNvSpPr>
            <p:nvPr/>
          </p:nvSpPr>
          <p:spPr>
            <a:xfrm>
              <a:off x="3198802" y="3455005"/>
              <a:ext cx="867776" cy="86777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4" name="Group 43">
            <a:extLst>
              <a:ext uri="{FF2B5EF4-FFF2-40B4-BE49-F238E27FC236}">
                <a16:creationId xmlns:a16="http://schemas.microsoft.com/office/drawing/2014/main" id="{198D1124-45B6-23CE-0683-732BDBAE190D}"/>
              </a:ext>
            </a:extLst>
          </p:cNvPr>
          <p:cNvGrpSpPr/>
          <p:nvPr/>
        </p:nvGrpSpPr>
        <p:grpSpPr>
          <a:xfrm>
            <a:off x="4881716" y="4806726"/>
            <a:ext cx="2547282" cy="693471"/>
            <a:chOff x="3143483" y="3397244"/>
            <a:chExt cx="3132626" cy="983297"/>
          </a:xfrm>
        </p:grpSpPr>
        <p:sp>
          <p:nvSpPr>
            <p:cNvPr id="45" name="Rounded Rectangle 44">
              <a:extLst>
                <a:ext uri="{FF2B5EF4-FFF2-40B4-BE49-F238E27FC236}">
                  <a16:creationId xmlns:a16="http://schemas.microsoft.com/office/drawing/2014/main" id="{EE7227A2-CA05-05B7-FAB7-5C1C6CF7E0C7}"/>
                </a:ext>
              </a:extLst>
            </p:cNvPr>
            <p:cNvSpPr/>
            <p:nvPr/>
          </p:nvSpPr>
          <p:spPr>
            <a:xfrm>
              <a:off x="3143483" y="3397244"/>
              <a:ext cx="3132626" cy="983297"/>
            </a:xfrm>
            <a:prstGeom prst="roundRect">
              <a:avLst>
                <a:gd name="adj" fmla="val 50000"/>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B0136600-940F-6856-696E-B31B522B8310}"/>
                </a:ext>
              </a:extLst>
            </p:cNvPr>
            <p:cNvSpPr>
              <a:spLocks noChangeAspect="1"/>
            </p:cNvSpPr>
            <p:nvPr/>
          </p:nvSpPr>
          <p:spPr>
            <a:xfrm>
              <a:off x="3198802" y="3455004"/>
              <a:ext cx="867776" cy="86777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226D4A94-2501-F4DB-9DF7-129E56DAFF16}"/>
              </a:ext>
            </a:extLst>
          </p:cNvPr>
          <p:cNvSpPr>
            <a:spLocks noGrp="1"/>
          </p:cNvSpPr>
          <p:nvPr>
            <p:ph type="title"/>
          </p:nvPr>
        </p:nvSpPr>
        <p:spPr>
          <a:xfrm>
            <a:off x="606581" y="443114"/>
            <a:ext cx="10974916" cy="886079"/>
          </a:xfrm>
        </p:spPr>
        <p:txBody>
          <a:bodyPr/>
          <a:lstStyle/>
          <a:p>
            <a:r>
              <a:rPr lang="en-CH"/>
              <a:t>La vision </a:t>
            </a:r>
            <a:r>
              <a:rPr lang="en-CH" err="1"/>
              <a:t>du GARDP </a:t>
            </a:r>
            <a:r>
              <a:rPr lang="en-CH"/>
              <a:t>en matière d'accès</a:t>
            </a:r>
            <a:endParaRPr lang="en-GB"/>
          </a:p>
        </p:txBody>
      </p:sp>
      <p:sp>
        <p:nvSpPr>
          <p:cNvPr id="2118" name="TextBox 2117">
            <a:extLst>
              <a:ext uri="{FF2B5EF4-FFF2-40B4-BE49-F238E27FC236}">
                <a16:creationId xmlns:a16="http://schemas.microsoft.com/office/drawing/2014/main" id="{4A86E004-1F6F-F8DD-0827-E248C463F750}"/>
              </a:ext>
            </a:extLst>
          </p:cNvPr>
          <p:cNvSpPr txBox="1"/>
          <p:nvPr/>
        </p:nvSpPr>
        <p:spPr>
          <a:xfrm>
            <a:off x="5569383" y="2828693"/>
            <a:ext cx="19449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GARANTIR L'ACCESSIBILITÉ</a:t>
            </a:r>
            <a:endPar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7" name="Group 36">
            <a:extLst>
              <a:ext uri="{FF2B5EF4-FFF2-40B4-BE49-F238E27FC236}">
                <a16:creationId xmlns:a16="http://schemas.microsoft.com/office/drawing/2014/main" id="{0A7C4CDC-7628-08A0-6596-CD19B358783A}"/>
              </a:ext>
            </a:extLst>
          </p:cNvPr>
          <p:cNvGrpSpPr/>
          <p:nvPr/>
        </p:nvGrpSpPr>
        <p:grpSpPr>
          <a:xfrm>
            <a:off x="3246879" y="3707006"/>
            <a:ext cx="2570027" cy="693471"/>
            <a:chOff x="3143483" y="3397244"/>
            <a:chExt cx="3132626" cy="983297"/>
          </a:xfrm>
        </p:grpSpPr>
        <p:sp>
          <p:nvSpPr>
            <p:cNvPr id="36" name="Rounded Rectangle 35">
              <a:extLst>
                <a:ext uri="{FF2B5EF4-FFF2-40B4-BE49-F238E27FC236}">
                  <a16:creationId xmlns:a16="http://schemas.microsoft.com/office/drawing/2014/main" id="{32E4D987-8C5F-B4F1-A82D-A9ED0EE635C6}"/>
                </a:ext>
              </a:extLst>
            </p:cNvPr>
            <p:cNvSpPr/>
            <p:nvPr/>
          </p:nvSpPr>
          <p:spPr>
            <a:xfrm>
              <a:off x="3143483" y="3397244"/>
              <a:ext cx="3132626" cy="983297"/>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56E6ABBF-E2E7-ED75-2DB1-677887560033}"/>
                </a:ext>
              </a:extLst>
            </p:cNvPr>
            <p:cNvSpPr>
              <a:spLocks noChangeAspect="1"/>
            </p:cNvSpPr>
            <p:nvPr/>
          </p:nvSpPr>
          <p:spPr>
            <a:xfrm>
              <a:off x="3198802" y="3455004"/>
              <a:ext cx="867776" cy="86777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119" name="TextBox 2118">
            <a:extLst>
              <a:ext uri="{FF2B5EF4-FFF2-40B4-BE49-F238E27FC236}">
                <a16:creationId xmlns:a16="http://schemas.microsoft.com/office/drawing/2014/main" id="{0850718E-EAAC-D890-42B7-6A6DCD78C0F5}"/>
              </a:ext>
            </a:extLst>
          </p:cNvPr>
          <p:cNvSpPr txBox="1"/>
          <p:nvPr/>
        </p:nvSpPr>
        <p:spPr>
          <a:xfrm>
            <a:off x="6623129" y="3818783"/>
            <a:ext cx="1586743"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DÉFINIR LES VOIES D'ACCÈS</a:t>
            </a:r>
            <a:endPar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20" name="TextBox 2119">
            <a:extLst>
              <a:ext uri="{FF2B5EF4-FFF2-40B4-BE49-F238E27FC236}">
                <a16:creationId xmlns:a16="http://schemas.microsoft.com/office/drawing/2014/main" id="{5129958F-27E5-731B-CAFA-5D959A401C6F}"/>
              </a:ext>
            </a:extLst>
          </p:cNvPr>
          <p:cNvSpPr txBox="1"/>
          <p:nvPr/>
        </p:nvSpPr>
        <p:spPr>
          <a:xfrm>
            <a:off x="5574788" y="4765250"/>
            <a:ext cx="160388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NIDUS POUR LES PARTENARIATS</a:t>
            </a:r>
            <a:endPar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21" name="TextBox 2120">
            <a:extLst>
              <a:ext uri="{FF2B5EF4-FFF2-40B4-BE49-F238E27FC236}">
                <a16:creationId xmlns:a16="http://schemas.microsoft.com/office/drawing/2014/main" id="{EBF780EC-AF30-5CB2-86D8-0CD451D09CDF}"/>
              </a:ext>
            </a:extLst>
          </p:cNvPr>
          <p:cNvSpPr txBox="1"/>
          <p:nvPr/>
        </p:nvSpPr>
        <p:spPr>
          <a:xfrm>
            <a:off x="4131170" y="3679243"/>
            <a:ext cx="181768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DIFFUSER LES MEILLEURES PRATIQUES</a:t>
            </a:r>
            <a:endPar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23" name="TextBox 2122">
            <a:extLst>
              <a:ext uri="{FF2B5EF4-FFF2-40B4-BE49-F238E27FC236}">
                <a16:creationId xmlns:a16="http://schemas.microsoft.com/office/drawing/2014/main" id="{94CC3D2F-A9E4-D3BB-1923-5003A978BE49}"/>
              </a:ext>
            </a:extLst>
          </p:cNvPr>
          <p:cNvSpPr txBox="1"/>
          <p:nvPr/>
        </p:nvSpPr>
        <p:spPr>
          <a:xfrm>
            <a:off x="3822348" y="2055116"/>
            <a:ext cx="4474151"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A0AD"/>
                </a:solidFill>
                <a:effectLst/>
                <a:uLnTx/>
                <a:uFillTx/>
                <a:latin typeface="Arial" panose="020B0604020202020204"/>
                <a:ea typeface="+mn-ea"/>
                <a:cs typeface="Calibri" panose="020F0502020204030204" pitchFamily="34" charset="0"/>
              </a:rPr>
              <a:t>Garantir</a:t>
            </a:r>
            <a:r>
              <a:rPr kumimoji="0" lang="en-US" sz="1400" b="0" i="0" u="none" strike="noStrike" kern="1200" cap="none" spc="0" normalizeH="0" baseline="0" noProof="0" dirty="0">
                <a:ln>
                  <a:noFill/>
                </a:ln>
                <a:solidFill>
                  <a:srgbClr val="00A0AD"/>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dirty="0" err="1">
                <a:ln>
                  <a:noFill/>
                </a:ln>
                <a:solidFill>
                  <a:srgbClr val="00A0AD"/>
                </a:solidFill>
                <a:effectLst/>
                <a:uLnTx/>
                <a:uFillTx/>
                <a:latin typeface="Arial" panose="020B0604020202020204"/>
                <a:ea typeface="+mn-ea"/>
                <a:cs typeface="Calibri" panose="020F0502020204030204" pitchFamily="34" charset="0"/>
              </a:rPr>
              <a:t>que</a:t>
            </a:r>
            <a:r>
              <a:rPr kumimoji="0" lang="en-US" sz="1400" b="0" i="0" u="none" strike="noStrike" kern="1200" cap="none" spc="0" normalizeH="0" baseline="0" noProof="0" dirty="0">
                <a:ln>
                  <a:noFill/>
                </a:ln>
                <a:solidFill>
                  <a:srgbClr val="00A0AD"/>
                </a:solidFill>
                <a:effectLst/>
                <a:uLnTx/>
                <a:uFillTx/>
                <a:latin typeface="Arial" panose="020B0604020202020204"/>
                <a:ea typeface="+mn-ea"/>
                <a:cs typeface="Calibri" panose="020F0502020204030204" pitchFamily="34" charset="0"/>
              </a:rPr>
              <a:t> </a:t>
            </a:r>
            <a:r>
              <a:rPr kumimoji="0" lang="en-CH" sz="1400" b="0" i="0" u="none" strike="noStrike" kern="1200" cap="none" spc="0" normalizeH="0" baseline="0" noProof="0" dirty="0">
                <a:ln>
                  <a:noFill/>
                </a:ln>
                <a:solidFill>
                  <a:srgbClr val="00A0AD"/>
                </a:solidFill>
                <a:effectLst/>
                <a:uLnTx/>
                <a:uFillTx/>
                <a:latin typeface="Arial" panose="020B0604020202020204"/>
                <a:ea typeface="+mn-ea"/>
                <a:cs typeface="Calibri" panose="020F0502020204030204" pitchFamily="34" charset="0"/>
              </a:rPr>
              <a:t>les produits</a:t>
            </a:r>
            <a:r>
              <a:rPr kumimoji="0" lang="en-US" sz="1400" b="0" i="0" u="none" strike="noStrike" kern="1200" cap="none" spc="0" normalizeH="0" baseline="0" noProof="0" dirty="0">
                <a:ln>
                  <a:noFill/>
                </a:ln>
                <a:solidFill>
                  <a:srgbClr val="00A0AD"/>
                </a:solidFill>
                <a:effectLst/>
                <a:uLnTx/>
                <a:uFillTx/>
                <a:latin typeface="Arial" panose="020B0604020202020204"/>
                <a:ea typeface="+mn-ea"/>
                <a:cs typeface="Calibri" panose="020F0502020204030204" pitchFamily="34" charset="0"/>
              </a:rPr>
              <a:t> du </a:t>
            </a:r>
            <a:r>
              <a:rPr kumimoji="0" lang="en-US" sz="1400" b="0" i="0" u="none" strike="noStrike" kern="1200" cap="none" spc="0" normalizeH="0" baseline="0" noProof="0" dirty="0" err="1">
                <a:ln>
                  <a:noFill/>
                </a:ln>
                <a:solidFill>
                  <a:srgbClr val="00A0AD"/>
                </a:solidFill>
                <a:effectLst/>
                <a:uLnTx/>
                <a:uFillTx/>
                <a:latin typeface="Arial" panose="020B0604020202020204"/>
                <a:ea typeface="+mn-ea"/>
                <a:cs typeface="Calibri" panose="020F0502020204030204" pitchFamily="34" charset="0"/>
              </a:rPr>
              <a:t>portefeuille</a:t>
            </a:r>
            <a:r>
              <a:rPr kumimoji="0" lang="en-US" sz="1400" b="0" i="0" u="none" strike="noStrike" kern="1200" cap="none" spc="0" normalizeH="0" baseline="0" noProof="0" dirty="0">
                <a:ln>
                  <a:noFill/>
                </a:ln>
                <a:solidFill>
                  <a:srgbClr val="00A0AD"/>
                </a:solidFill>
                <a:effectLst/>
                <a:uLnTx/>
                <a:uFillTx/>
                <a:latin typeface="Arial" panose="020B0604020202020204"/>
                <a:ea typeface="+mn-ea"/>
                <a:cs typeface="Calibri" panose="020F0502020204030204" pitchFamily="34" charset="0"/>
              </a:rPr>
              <a:t> du GARDP </a:t>
            </a:r>
            <a:r>
              <a:rPr kumimoji="0" lang="en-CH" sz="1400" b="0" i="0" u="none" strike="noStrike" kern="1200" cap="none" spc="0" normalizeH="0" baseline="0" noProof="0" dirty="0">
                <a:ln>
                  <a:noFill/>
                </a:ln>
                <a:solidFill>
                  <a:srgbClr val="00A0AD"/>
                </a:solidFill>
                <a:effectLst/>
                <a:uLnTx/>
                <a:uFillTx/>
                <a:latin typeface="Arial" panose="020B0604020202020204"/>
                <a:ea typeface="+mn-ea"/>
                <a:cs typeface="Calibri" panose="020F0502020204030204" pitchFamily="34" charset="0"/>
              </a:rPr>
              <a:t>sont </a:t>
            </a:r>
            <a:r>
              <a:rPr kumimoji="0" lang="en-CH" sz="1400" b="1" i="0" u="none" strike="noStrike" kern="1200" cap="none" spc="0" normalizeH="0" baseline="0" noProof="0" dirty="0">
                <a:ln>
                  <a:noFill/>
                </a:ln>
                <a:solidFill>
                  <a:srgbClr val="00A0AD"/>
                </a:solidFill>
                <a:effectLst/>
                <a:uLnTx/>
                <a:uFillTx/>
                <a:latin typeface="Arial" panose="020B0604020202020204"/>
                <a:ea typeface="+mn-ea"/>
                <a:cs typeface="Calibri" panose="020F0502020204030204" pitchFamily="34" charset="0"/>
              </a:rPr>
              <a:t>disponibles, abordables et utilisés de manière appropriée </a:t>
            </a:r>
            <a:r>
              <a:rPr kumimoji="0" lang="en-CH" sz="1400" b="0" i="0" u="none" strike="noStrike" kern="1200" cap="none" spc="0" normalizeH="0" baseline="0" noProof="0" dirty="0">
                <a:ln>
                  <a:noFill/>
                </a:ln>
                <a:solidFill>
                  <a:srgbClr val="00A0AD"/>
                </a:solidFill>
                <a:effectLst/>
                <a:uLnTx/>
                <a:uFillTx/>
                <a:latin typeface="Arial" panose="020B0604020202020204"/>
                <a:ea typeface="+mn-ea"/>
                <a:cs typeface="Calibri" panose="020F0502020204030204" pitchFamily="34" charset="0"/>
              </a:rPr>
              <a:t>par les populations qui en ont besoin</a:t>
            </a:r>
          </a:p>
        </p:txBody>
      </p:sp>
      <p:sp>
        <p:nvSpPr>
          <p:cNvPr id="2124" name="TextBox 2123">
            <a:extLst>
              <a:ext uri="{FF2B5EF4-FFF2-40B4-BE49-F238E27FC236}">
                <a16:creationId xmlns:a16="http://schemas.microsoft.com/office/drawing/2014/main" id="{058A1749-4EAC-E6F9-F14C-FD86D160C366}"/>
              </a:ext>
            </a:extLst>
          </p:cNvPr>
          <p:cNvSpPr txBox="1"/>
          <p:nvPr/>
        </p:nvSpPr>
        <p:spPr>
          <a:xfrm>
            <a:off x="9129417" y="3596729"/>
            <a:ext cx="1952515" cy="129266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400" b="0" i="0" u="none" strike="noStrike" kern="1200" cap="none" spc="0" normalizeH="0" baseline="0" noProof="0" dirty="0">
                <a:ln>
                  <a:noFill/>
                </a:ln>
                <a:solidFill>
                  <a:srgbClr val="006378"/>
                </a:solidFill>
                <a:effectLst/>
                <a:uLnTx/>
                <a:uFillTx/>
                <a:latin typeface="Arial" panose="020B0604020202020204"/>
                <a:ea typeface="+mn-ea"/>
                <a:cs typeface="Calibri" panose="020F0502020204030204" pitchFamily="34" charset="0"/>
              </a:rPr>
              <a:t>Développer et démontrer divers modèles </a:t>
            </a:r>
            <a:r>
              <a:rPr kumimoji="0" lang="en-US" sz="1400" b="0" i="0" u="none" strike="noStrike" kern="1200" cap="none" spc="0" normalizeH="0" baseline="0" noProof="0" dirty="0" err="1">
                <a:ln>
                  <a:noFill/>
                </a:ln>
                <a:solidFill>
                  <a:srgbClr val="006378"/>
                </a:solidFill>
                <a:effectLst/>
                <a:uLnTx/>
                <a:uFillTx/>
                <a:latin typeface="Arial" panose="020B0604020202020204"/>
                <a:ea typeface="+mn-ea"/>
                <a:cs typeface="Calibri" panose="020F0502020204030204" pitchFamily="34" charset="0"/>
              </a:rPr>
              <a:t>d'accès</a:t>
            </a:r>
            <a:r>
              <a:rPr kumimoji="0" lang="en-CH" sz="1400" b="0" i="0" u="none" strike="noStrike" kern="1200" cap="none" spc="0" normalizeH="0" baseline="0" noProof="0" dirty="0">
                <a:ln>
                  <a:noFill/>
                </a:ln>
                <a:solidFill>
                  <a:srgbClr val="006378"/>
                </a:solidFill>
                <a:effectLst/>
                <a:uLnTx/>
                <a:uFillTx/>
                <a:latin typeface="Arial" panose="020B0604020202020204"/>
                <a:ea typeface="+mn-ea"/>
                <a:cs typeface="Calibri" panose="020F0502020204030204" pitchFamily="34" charset="0"/>
              </a:rPr>
              <a:t>, en utilisant les produits du portefeuille comme «</a:t>
            </a:r>
            <a:r>
              <a:rPr kumimoji="0" lang="en-US" sz="1400" b="1" i="0" u="none" strike="noStrike" kern="1200" cap="none" spc="0" normalizeH="0" baseline="0" noProof="0" dirty="0" err="1">
                <a:ln>
                  <a:noFill/>
                </a:ln>
                <a:solidFill>
                  <a:srgbClr val="006378"/>
                </a:solidFill>
                <a:effectLst/>
                <a:uLnTx/>
                <a:uFillTx/>
                <a:latin typeface="Arial" panose="020B0604020202020204"/>
                <a:ea typeface="+mn-ea"/>
                <a:cs typeface="Calibri" panose="020F0502020204030204" pitchFamily="34" charset="0"/>
              </a:rPr>
              <a:t>pionniers</a:t>
            </a:r>
            <a:r>
              <a:rPr kumimoji="0" lang="en-US" sz="1400" b="1" i="0" u="none" strike="noStrike" kern="1200" cap="none" spc="0" normalizeH="0" baseline="0" noProof="0" dirty="0">
                <a:ln>
                  <a:noFill/>
                </a:ln>
                <a:solidFill>
                  <a:srgbClr val="006378"/>
                </a:solidFill>
                <a:effectLst/>
                <a:uLnTx/>
                <a:uFillTx/>
                <a:latin typeface="Arial" panose="020B0604020202020204"/>
                <a:ea typeface="+mn-ea"/>
                <a:cs typeface="Calibri" panose="020F0502020204030204" pitchFamily="34" charset="0"/>
              </a:rPr>
              <a:t>».</a:t>
            </a:r>
            <a:endParaRPr kumimoji="0" lang="en-CH" sz="1400" b="1" i="0" u="none" strike="noStrike" kern="1200" cap="none" spc="0" normalizeH="0" baseline="0" noProof="0" dirty="0">
              <a:ln>
                <a:noFill/>
              </a:ln>
              <a:solidFill>
                <a:srgbClr val="006378"/>
              </a:solidFill>
              <a:effectLst/>
              <a:uLnTx/>
              <a:uFillTx/>
              <a:latin typeface="Arial" panose="020B0604020202020204"/>
              <a:ea typeface="+mn-ea"/>
              <a:cs typeface="Calibri" panose="020F0502020204030204" pitchFamily="34" charset="0"/>
            </a:endParaRPr>
          </a:p>
        </p:txBody>
      </p:sp>
      <p:sp>
        <p:nvSpPr>
          <p:cNvPr id="2125" name="TextBox 2124">
            <a:extLst>
              <a:ext uri="{FF2B5EF4-FFF2-40B4-BE49-F238E27FC236}">
                <a16:creationId xmlns:a16="http://schemas.microsoft.com/office/drawing/2014/main" id="{CA87B6EF-D0C2-D6BE-B3D1-B64240435209}"/>
              </a:ext>
            </a:extLst>
          </p:cNvPr>
          <p:cNvSpPr txBox="1"/>
          <p:nvPr/>
        </p:nvSpPr>
        <p:spPr>
          <a:xfrm>
            <a:off x="1818150" y="3214252"/>
            <a:ext cx="1327812" cy="2154436"/>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4F8591"/>
                </a:solidFill>
                <a:effectLst/>
                <a:uLnTx/>
                <a:uFillTx/>
                <a:latin typeface="Arial" panose="020B0604020202020204"/>
                <a:ea typeface="+mn-ea"/>
                <a:cs typeface="Calibri" panose="020F0502020204030204" pitchFamily="34" charset="0"/>
              </a:rPr>
              <a:t>Servir</a:t>
            </a:r>
            <a:r>
              <a:rPr kumimoji="0" lang="en-US" sz="1400" b="0"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dirty="0" err="1">
                <a:ln>
                  <a:noFill/>
                </a:ln>
                <a:solidFill>
                  <a:srgbClr val="4F8591"/>
                </a:solidFill>
                <a:effectLst/>
                <a:uLnTx/>
                <a:uFillTx/>
                <a:latin typeface="Arial" panose="020B0604020202020204"/>
                <a:ea typeface="+mn-ea"/>
                <a:cs typeface="Calibri" panose="020F0502020204030204" pitchFamily="34" charset="0"/>
              </a:rPr>
              <a:t>d'</a:t>
            </a:r>
            <a:r>
              <a:rPr kumimoji="0" lang="en-US" sz="1400" b="1" i="0" u="none" strike="noStrike" kern="1200" cap="none" spc="0" normalizeH="0" baseline="0" noProof="0" dirty="0" err="1">
                <a:ln>
                  <a:noFill/>
                </a:ln>
                <a:solidFill>
                  <a:srgbClr val="4F8591"/>
                </a:solidFill>
                <a:effectLst/>
                <a:uLnTx/>
                <a:uFillTx/>
                <a:latin typeface="Arial" panose="020B0604020202020204"/>
                <a:ea typeface="+mn-ea"/>
                <a:cs typeface="Calibri" panose="020F0502020204030204" pitchFamily="34" charset="0"/>
              </a:rPr>
              <a:t>incubateur</a:t>
            </a:r>
            <a:r>
              <a:rPr kumimoji="0" lang="en-US" sz="1400" b="1"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rPr>
              <a:t> et </a:t>
            </a:r>
            <a:r>
              <a:rPr kumimoji="0" lang="en-US" sz="1400" b="0"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rPr>
              <a:t>de </a:t>
            </a:r>
            <a:r>
              <a:rPr kumimoji="0" lang="en-US" sz="1400" b="1" i="0" u="none" strike="noStrike" kern="1200" cap="none" spc="0" normalizeH="0" baseline="0" noProof="0" dirty="0" err="1">
                <a:ln>
                  <a:noFill/>
                </a:ln>
                <a:solidFill>
                  <a:srgbClr val="4F8591"/>
                </a:solidFill>
                <a:effectLst/>
                <a:uLnTx/>
                <a:uFillTx/>
                <a:latin typeface="Arial" panose="020B0604020202020204"/>
                <a:ea typeface="+mn-ea"/>
                <a:cs typeface="Calibri" panose="020F0502020204030204" pitchFamily="34" charset="0"/>
              </a:rPr>
              <a:t>catalyseur</a:t>
            </a:r>
            <a:r>
              <a:rPr kumimoji="0" lang="en-US" sz="1400" b="1"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dirty="0" err="1">
                <a:ln>
                  <a:noFill/>
                </a:ln>
                <a:solidFill>
                  <a:srgbClr val="4F8591"/>
                </a:solidFill>
                <a:effectLst/>
                <a:uLnTx/>
                <a:uFillTx/>
                <a:latin typeface="Arial" panose="020B0604020202020204"/>
                <a:ea typeface="+mn-ea"/>
                <a:cs typeface="Calibri" panose="020F0502020204030204" pitchFamily="34" charset="0"/>
              </a:rPr>
              <a:t>en</a:t>
            </a:r>
            <a:r>
              <a:rPr kumimoji="0" lang="en-US" sz="1400" b="0"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dirty="0" err="1">
                <a:ln>
                  <a:noFill/>
                </a:ln>
                <a:solidFill>
                  <a:srgbClr val="4F8591"/>
                </a:solidFill>
                <a:effectLst/>
                <a:uLnTx/>
                <a:uFillTx/>
                <a:latin typeface="Arial" panose="020B0604020202020204"/>
                <a:ea typeface="+mn-ea"/>
                <a:cs typeface="Calibri" panose="020F0502020204030204" pitchFamily="34" charset="0"/>
              </a:rPr>
              <a:t>développant</a:t>
            </a:r>
            <a:r>
              <a:rPr kumimoji="0" lang="en-US" sz="1400" b="0"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rPr>
              <a:t> et </a:t>
            </a:r>
            <a:r>
              <a:rPr kumimoji="0" lang="en-US" sz="1400" b="0" i="0" u="none" strike="noStrike" kern="1200" cap="none" spc="0" normalizeH="0" baseline="0" noProof="0" dirty="0" err="1">
                <a:ln>
                  <a:noFill/>
                </a:ln>
                <a:solidFill>
                  <a:srgbClr val="4F8591"/>
                </a:solidFill>
                <a:effectLst/>
                <a:uLnTx/>
                <a:uFillTx/>
                <a:latin typeface="Arial" panose="020B0604020202020204"/>
                <a:ea typeface="+mn-ea"/>
                <a:cs typeface="Calibri" panose="020F0502020204030204" pitchFamily="34" charset="0"/>
              </a:rPr>
              <a:t>en</a:t>
            </a:r>
            <a:r>
              <a:rPr kumimoji="0" lang="en-US" sz="1400" b="0"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rPr>
              <a:t> diffusant les </a:t>
            </a:r>
            <a:r>
              <a:rPr kumimoji="0" lang="en-US" sz="1400" b="0" i="0" u="none" strike="noStrike" kern="1200" cap="none" spc="0" normalizeH="0" baseline="0" noProof="0" dirty="0" err="1">
                <a:ln>
                  <a:noFill/>
                </a:ln>
                <a:solidFill>
                  <a:srgbClr val="4F8591"/>
                </a:solidFill>
                <a:effectLst/>
                <a:uLnTx/>
                <a:uFillTx/>
                <a:latin typeface="Arial" panose="020B0604020202020204"/>
                <a:ea typeface="+mn-ea"/>
                <a:cs typeface="Calibri" panose="020F0502020204030204" pitchFamily="34" charset="0"/>
              </a:rPr>
              <a:t>meilleures</a:t>
            </a:r>
            <a:r>
              <a:rPr kumimoji="0" lang="en-US" sz="1400" b="0"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rPr>
              <a:t> pratiques </a:t>
            </a:r>
            <a:r>
              <a:rPr kumimoji="0" lang="en-US" sz="1400" b="0" i="0" u="none" strike="noStrike" kern="1200" cap="none" spc="0" normalizeH="0" baseline="0" noProof="0" dirty="0" err="1">
                <a:ln>
                  <a:noFill/>
                </a:ln>
                <a:solidFill>
                  <a:srgbClr val="4F8591"/>
                </a:solidFill>
                <a:effectLst/>
                <a:uLnTx/>
                <a:uFillTx/>
                <a:latin typeface="Arial" panose="020B0604020202020204"/>
                <a:ea typeface="+mn-ea"/>
                <a:cs typeface="Calibri" panose="020F0502020204030204" pitchFamily="34" charset="0"/>
              </a:rPr>
              <a:t>en</a:t>
            </a:r>
            <a:r>
              <a:rPr kumimoji="0" lang="en-US" sz="1400" b="0"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rPr>
              <a:t> matière </a:t>
            </a:r>
            <a:r>
              <a:rPr kumimoji="0" lang="en-US" sz="1400" b="0" i="0" u="none" strike="noStrike" kern="1200" cap="none" spc="0" normalizeH="0" baseline="0" noProof="0" dirty="0" err="1">
                <a:ln>
                  <a:noFill/>
                </a:ln>
                <a:solidFill>
                  <a:srgbClr val="4F8591"/>
                </a:solidFill>
                <a:effectLst/>
                <a:uLnTx/>
                <a:uFillTx/>
                <a:latin typeface="Arial" panose="020B0604020202020204"/>
                <a:ea typeface="+mn-ea"/>
                <a:cs typeface="Calibri" panose="020F0502020204030204" pitchFamily="34" charset="0"/>
              </a:rPr>
              <a:t>d'accès</a:t>
            </a:r>
            <a:r>
              <a:rPr kumimoji="0" lang="en-US" sz="1400" b="0"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rPr>
              <a:t> aux </a:t>
            </a:r>
            <a:r>
              <a:rPr kumimoji="0" lang="en-US" sz="1400" b="0" i="0" u="none" strike="noStrike" kern="1200" cap="none" spc="0" normalizeH="0" baseline="0" noProof="0" dirty="0" err="1">
                <a:ln>
                  <a:noFill/>
                </a:ln>
                <a:solidFill>
                  <a:srgbClr val="4F8591"/>
                </a:solidFill>
                <a:effectLst/>
                <a:uLnTx/>
                <a:uFillTx/>
                <a:latin typeface="Arial" panose="020B0604020202020204"/>
                <a:ea typeface="+mn-ea"/>
                <a:cs typeface="Calibri" panose="020F0502020204030204" pitchFamily="34" charset="0"/>
              </a:rPr>
              <a:t>antibiotiques</a:t>
            </a:r>
            <a:r>
              <a:rPr kumimoji="0" lang="en-US" sz="1400" b="0"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rPr>
              <a:t> </a:t>
            </a:r>
            <a:endParaRPr kumimoji="0" lang="en-CH" sz="1400" b="0" i="0" u="none" strike="noStrike" kern="1200" cap="none" spc="0" normalizeH="0" baseline="0" noProof="0" dirty="0">
              <a:ln>
                <a:noFill/>
              </a:ln>
              <a:solidFill>
                <a:srgbClr val="4F8591"/>
              </a:solidFill>
              <a:effectLst/>
              <a:uLnTx/>
              <a:uFillTx/>
              <a:latin typeface="Arial" panose="020B0604020202020204"/>
              <a:ea typeface="+mn-ea"/>
              <a:cs typeface="Calibri" panose="020F0502020204030204" pitchFamily="34" charset="0"/>
            </a:endParaRPr>
          </a:p>
        </p:txBody>
      </p:sp>
      <p:sp>
        <p:nvSpPr>
          <p:cNvPr id="2126" name="TextBox 2125">
            <a:extLst>
              <a:ext uri="{FF2B5EF4-FFF2-40B4-BE49-F238E27FC236}">
                <a16:creationId xmlns:a16="http://schemas.microsoft.com/office/drawing/2014/main" id="{1E331A6D-7E4C-E064-F118-EDC8937188AC}"/>
              </a:ext>
            </a:extLst>
          </p:cNvPr>
          <p:cNvSpPr txBox="1"/>
          <p:nvPr/>
        </p:nvSpPr>
        <p:spPr>
          <a:xfrm>
            <a:off x="3860390" y="5612068"/>
            <a:ext cx="4606018"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Servir</a:t>
            </a:r>
            <a:r>
              <a:rPr kumimoji="0" lang="en-US" sz="1400" b="0"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de </a:t>
            </a:r>
            <a:r>
              <a:rPr kumimoji="0" lang="en-US" sz="1400" b="1"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nid</a:t>
            </a:r>
            <a:r>
              <a:rPr kumimoji="0" lang="en-US" sz="1400" b="1"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pour </a:t>
            </a:r>
            <a:r>
              <a:rPr kumimoji="0" lang="en-US" sz="1400" b="1"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l'écosystème</a:t>
            </a:r>
            <a:r>
              <a:rPr kumimoji="0" lang="en-US" sz="1400" b="1"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a:t>
            </a:r>
            <a:r>
              <a:rPr kumimoji="0" lang="en-US" sz="1400" b="1"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mondial</a:t>
            </a:r>
            <a:r>
              <a:rPr kumimoji="0" lang="en-US" sz="1400" b="1"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a:t>
            </a:r>
            <a:r>
              <a:rPr kumimoji="0" lang="en-US" sz="1400" b="1"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d'accès</a:t>
            </a:r>
            <a:r>
              <a:rPr kumimoji="0" lang="en-US" sz="1400" b="1"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à </a:t>
            </a:r>
            <a:r>
              <a:rPr kumimoji="0" lang="en-US" sz="1400" b="1"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l'AMR</a:t>
            </a:r>
            <a:r>
              <a:rPr kumimoji="0" lang="en-US" sz="1400" b="1"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en</a:t>
            </a:r>
            <a:r>
              <a:rPr kumimoji="0" lang="en-US" sz="1400" b="0"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permettant</a:t>
            </a:r>
            <a:r>
              <a:rPr kumimoji="0" lang="en-US" sz="1400" b="0"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aux </a:t>
            </a:r>
            <a:r>
              <a:rPr kumimoji="0" lang="en-US" sz="1400" b="0"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partenariats</a:t>
            </a:r>
            <a:r>
              <a:rPr kumimoji="0" lang="en-US" sz="1400" b="0"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de </a:t>
            </a:r>
            <a:r>
              <a:rPr kumimoji="0" lang="en-US" sz="1400" b="0"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favoriser</a:t>
            </a:r>
            <a:r>
              <a:rPr kumimoji="0" lang="en-US" sz="1400" b="0"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l'optimisation</a:t>
            </a:r>
            <a:r>
              <a:rPr kumimoji="0" lang="en-US" sz="1400" b="0"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des </a:t>
            </a:r>
            <a:r>
              <a:rPr kumimoji="0" lang="en-US" sz="1400" b="0"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médicaments</a:t>
            </a:r>
            <a:r>
              <a:rPr kumimoji="0" lang="en-US" sz="1400" b="0"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les </a:t>
            </a:r>
            <a:r>
              <a:rPr kumimoji="0" lang="en-US" sz="1400" b="0"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achats</a:t>
            </a:r>
            <a:r>
              <a:rPr kumimoji="0" lang="en-US" sz="1400" b="0"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groupés</a:t>
            </a:r>
            <a:r>
              <a:rPr kumimoji="0" lang="en-US" sz="1400" b="0"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la gestion à grande </a:t>
            </a:r>
            <a:r>
              <a:rPr kumimoji="0" lang="en-US" sz="1400" b="0" i="0" u="none" strike="noStrike" kern="1200" cap="none" spc="0" normalizeH="0" baseline="0" noProof="0" dirty="0" err="1">
                <a:ln>
                  <a:noFill/>
                </a:ln>
                <a:solidFill>
                  <a:srgbClr val="0B1E2F">
                    <a:lumMod val="50000"/>
                    <a:lumOff val="50000"/>
                  </a:srgbClr>
                </a:solidFill>
                <a:effectLst/>
                <a:uLnTx/>
                <a:uFillTx/>
                <a:latin typeface="Arial" panose="020B0604020202020204"/>
                <a:ea typeface="+mn-ea"/>
                <a:cs typeface="Calibri" panose="020F0502020204030204" pitchFamily="34" charset="0"/>
              </a:rPr>
              <a:t>échelle</a:t>
            </a:r>
            <a:r>
              <a:rPr kumimoji="0" lang="en-US" sz="1400" b="0"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rPr>
              <a:t>, etc. </a:t>
            </a:r>
            <a:endParaRPr kumimoji="0" lang="en-CH" sz="1400" b="0" i="0" u="none" strike="noStrike" kern="1200" cap="none" spc="0" normalizeH="0" baseline="0" noProof="0" dirty="0">
              <a:ln>
                <a:noFill/>
              </a:ln>
              <a:solidFill>
                <a:srgbClr val="0B1E2F">
                  <a:lumMod val="50000"/>
                  <a:lumOff val="50000"/>
                </a:srgbClr>
              </a:solidFill>
              <a:effectLst/>
              <a:uLnTx/>
              <a:uFillTx/>
              <a:latin typeface="Arial" panose="020B0604020202020204"/>
              <a:ea typeface="+mn-ea"/>
              <a:cs typeface="Calibri" panose="020F0502020204030204" pitchFamily="34" charset="0"/>
            </a:endParaRPr>
          </a:p>
        </p:txBody>
      </p:sp>
      <p:pic>
        <p:nvPicPr>
          <p:cNvPr id="20" name="Graphic 19">
            <a:extLst>
              <a:ext uri="{FF2B5EF4-FFF2-40B4-BE49-F238E27FC236}">
                <a16:creationId xmlns:a16="http://schemas.microsoft.com/office/drawing/2014/main" id="{1B4CC8D7-C5A0-9848-9E45-B4772006BE26}"/>
              </a:ext>
            </a:extLst>
          </p:cNvPr>
          <p:cNvPicPr preferRelativeResize="0">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00205" y="2858358"/>
            <a:ext cx="432000" cy="432000"/>
          </a:xfrm>
          <a:prstGeom prst="rect">
            <a:avLst/>
          </a:prstGeom>
        </p:spPr>
      </p:pic>
      <p:grpSp>
        <p:nvGrpSpPr>
          <p:cNvPr id="29" name="Graphic 21">
            <a:extLst>
              <a:ext uri="{FF2B5EF4-FFF2-40B4-BE49-F238E27FC236}">
                <a16:creationId xmlns:a16="http://schemas.microsoft.com/office/drawing/2014/main" id="{98348A16-DCBE-7142-4CC1-C689824CA4D9}"/>
              </a:ext>
            </a:extLst>
          </p:cNvPr>
          <p:cNvGrpSpPr/>
          <p:nvPr/>
        </p:nvGrpSpPr>
        <p:grpSpPr>
          <a:xfrm>
            <a:off x="3419241" y="3718151"/>
            <a:ext cx="322823" cy="434118"/>
            <a:chOff x="516359" y="4999768"/>
            <a:chExt cx="655950" cy="882091"/>
          </a:xfrm>
          <a:solidFill>
            <a:schemeClr val="accent4"/>
          </a:solidFill>
        </p:grpSpPr>
        <p:sp>
          <p:nvSpPr>
            <p:cNvPr id="30" name="Freeform 29">
              <a:extLst>
                <a:ext uri="{FF2B5EF4-FFF2-40B4-BE49-F238E27FC236}">
                  <a16:creationId xmlns:a16="http://schemas.microsoft.com/office/drawing/2014/main" id="{9BC9AE9C-55B9-EC2E-6FB6-67113A7E6781}"/>
                </a:ext>
              </a:extLst>
            </p:cNvPr>
            <p:cNvSpPr/>
            <p:nvPr/>
          </p:nvSpPr>
          <p:spPr>
            <a:xfrm>
              <a:off x="585407" y="5068681"/>
              <a:ext cx="517861" cy="516849"/>
            </a:xfrm>
            <a:custGeom>
              <a:avLst/>
              <a:gdLst>
                <a:gd name="connsiteX0" fmla="*/ 0 w 517861"/>
                <a:gd name="connsiteY0" fmla="*/ 258425 h 516849"/>
                <a:gd name="connsiteX1" fmla="*/ 258931 w 517861"/>
                <a:gd name="connsiteY1" fmla="*/ 516850 h 516849"/>
                <a:gd name="connsiteX2" fmla="*/ 517861 w 517861"/>
                <a:gd name="connsiteY2" fmla="*/ 258425 h 516849"/>
                <a:gd name="connsiteX3" fmla="*/ 258931 w 517861"/>
                <a:gd name="connsiteY3" fmla="*/ 0 h 516849"/>
                <a:gd name="connsiteX4" fmla="*/ 0 w 517861"/>
                <a:gd name="connsiteY4" fmla="*/ 258425 h 516849"/>
                <a:gd name="connsiteX5" fmla="*/ 258931 w 517861"/>
                <a:gd name="connsiteY5" fmla="*/ 34457 h 516849"/>
                <a:gd name="connsiteX6" fmla="*/ 483337 w 517861"/>
                <a:gd name="connsiteY6" fmla="*/ 258425 h 516849"/>
                <a:gd name="connsiteX7" fmla="*/ 258931 w 517861"/>
                <a:gd name="connsiteY7" fmla="*/ 482393 h 516849"/>
                <a:gd name="connsiteX8" fmla="*/ 34524 w 517861"/>
                <a:gd name="connsiteY8" fmla="*/ 258425 h 516849"/>
                <a:gd name="connsiteX9" fmla="*/ 258931 w 517861"/>
                <a:gd name="connsiteY9" fmla="*/ 34457 h 51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861" h="516849">
                  <a:moveTo>
                    <a:pt x="0" y="258425"/>
                  </a:moveTo>
                  <a:cubicBezTo>
                    <a:pt x="0" y="400922"/>
                    <a:pt x="116155" y="516850"/>
                    <a:pt x="258931" y="516850"/>
                  </a:cubicBezTo>
                  <a:cubicBezTo>
                    <a:pt x="401707" y="516850"/>
                    <a:pt x="517861" y="400922"/>
                    <a:pt x="517861" y="258425"/>
                  </a:cubicBezTo>
                  <a:cubicBezTo>
                    <a:pt x="517861" y="115928"/>
                    <a:pt x="401707" y="0"/>
                    <a:pt x="258931" y="0"/>
                  </a:cubicBezTo>
                  <a:cubicBezTo>
                    <a:pt x="116155" y="0"/>
                    <a:pt x="0" y="115928"/>
                    <a:pt x="0" y="258425"/>
                  </a:cubicBezTo>
                  <a:close/>
                  <a:moveTo>
                    <a:pt x="258931" y="34457"/>
                  </a:moveTo>
                  <a:cubicBezTo>
                    <a:pt x="382672" y="34457"/>
                    <a:pt x="483337" y="134925"/>
                    <a:pt x="483337" y="258425"/>
                  </a:cubicBezTo>
                  <a:cubicBezTo>
                    <a:pt x="483337" y="381924"/>
                    <a:pt x="382672" y="482393"/>
                    <a:pt x="258931" y="482393"/>
                  </a:cubicBezTo>
                  <a:cubicBezTo>
                    <a:pt x="135189" y="482393"/>
                    <a:pt x="34524" y="381924"/>
                    <a:pt x="34524" y="258425"/>
                  </a:cubicBezTo>
                  <a:cubicBezTo>
                    <a:pt x="34524" y="134925"/>
                    <a:pt x="135189" y="34457"/>
                    <a:pt x="258931" y="34457"/>
                  </a:cubicBezTo>
                  <a:close/>
                </a:path>
              </a:pathLst>
            </a:custGeom>
            <a:grpFill/>
            <a:ln w="1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31" name="Freeform 30">
              <a:extLst>
                <a:ext uri="{FF2B5EF4-FFF2-40B4-BE49-F238E27FC236}">
                  <a16:creationId xmlns:a16="http://schemas.microsoft.com/office/drawing/2014/main" id="{4B455312-A12E-07A0-D95D-962CD1B11FF8}"/>
                </a:ext>
              </a:extLst>
            </p:cNvPr>
            <p:cNvSpPr/>
            <p:nvPr/>
          </p:nvSpPr>
          <p:spPr>
            <a:xfrm>
              <a:off x="679327" y="5159749"/>
              <a:ext cx="330016" cy="314968"/>
            </a:xfrm>
            <a:custGeom>
              <a:avLst/>
              <a:gdLst>
                <a:gd name="connsiteX0" fmla="*/ 5148 w 330016"/>
                <a:gd name="connsiteY0" fmla="*/ 136642 h 314968"/>
                <a:gd name="connsiteX1" fmla="*/ 72058 w 330016"/>
                <a:gd name="connsiteY1" fmla="*/ 202439 h 314968"/>
                <a:gd name="connsiteX2" fmla="*/ 56664 w 330016"/>
                <a:gd name="connsiteY2" fmla="*/ 294914 h 314968"/>
                <a:gd name="connsiteX3" fmla="*/ 63549 w 330016"/>
                <a:gd name="connsiteY3" fmla="*/ 311679 h 314968"/>
                <a:gd name="connsiteX4" fmla="*/ 81647 w 330016"/>
                <a:gd name="connsiteY4" fmla="*/ 313031 h 314968"/>
                <a:gd name="connsiteX5" fmla="*/ 165011 w 330016"/>
                <a:gd name="connsiteY5" fmla="*/ 269826 h 314968"/>
                <a:gd name="connsiteX6" fmla="*/ 248367 w 330016"/>
                <a:gd name="connsiteY6" fmla="*/ 313031 h 314968"/>
                <a:gd name="connsiteX7" fmla="*/ 266465 w 330016"/>
                <a:gd name="connsiteY7" fmla="*/ 311679 h 314968"/>
                <a:gd name="connsiteX8" fmla="*/ 273350 w 330016"/>
                <a:gd name="connsiteY8" fmla="*/ 294914 h 314968"/>
                <a:gd name="connsiteX9" fmla="*/ 257956 w 330016"/>
                <a:gd name="connsiteY9" fmla="*/ 202439 h 314968"/>
                <a:gd name="connsiteX10" fmla="*/ 324866 w 330016"/>
                <a:gd name="connsiteY10" fmla="*/ 136642 h 314968"/>
                <a:gd name="connsiteX11" fmla="*/ 329169 w 330016"/>
                <a:gd name="connsiteY11" fmla="*/ 119044 h 314968"/>
                <a:gd name="connsiteX12" fmla="*/ 315318 w 330016"/>
                <a:gd name="connsiteY12" fmla="*/ 107333 h 314968"/>
                <a:gd name="connsiteX13" fmla="*/ 222460 w 330016"/>
                <a:gd name="connsiteY13" fmla="*/ 93382 h 314968"/>
                <a:gd name="connsiteX14" fmla="*/ 180444 w 330016"/>
                <a:gd name="connsiteY14" fmla="*/ 9523 h 314968"/>
                <a:gd name="connsiteX15" fmla="*/ 165011 w 330016"/>
                <a:gd name="connsiteY15" fmla="*/ 0 h 314968"/>
                <a:gd name="connsiteX16" fmla="*/ 149570 w 330016"/>
                <a:gd name="connsiteY16" fmla="*/ 9523 h 314968"/>
                <a:gd name="connsiteX17" fmla="*/ 107554 w 330016"/>
                <a:gd name="connsiteY17" fmla="*/ 93382 h 314968"/>
                <a:gd name="connsiteX18" fmla="*/ 14696 w 330016"/>
                <a:gd name="connsiteY18" fmla="*/ 107333 h 314968"/>
                <a:gd name="connsiteX19" fmla="*/ 846 w 330016"/>
                <a:gd name="connsiteY19" fmla="*/ 119044 h 314968"/>
                <a:gd name="connsiteX20" fmla="*/ 5148 w 330016"/>
                <a:gd name="connsiteY20" fmla="*/ 136642 h 314968"/>
                <a:gd name="connsiteX21" fmla="*/ 121559 w 330016"/>
                <a:gd name="connsiteY21" fmla="*/ 126123 h 314968"/>
                <a:gd name="connsiteX22" fmla="*/ 134431 w 330016"/>
                <a:gd name="connsiteY22" fmla="*/ 116795 h 314968"/>
                <a:gd name="connsiteX23" fmla="*/ 165011 w 330016"/>
                <a:gd name="connsiteY23" fmla="*/ 55750 h 314968"/>
                <a:gd name="connsiteX24" fmla="*/ 195590 w 330016"/>
                <a:gd name="connsiteY24" fmla="*/ 116795 h 314968"/>
                <a:gd name="connsiteX25" fmla="*/ 208462 w 330016"/>
                <a:gd name="connsiteY25" fmla="*/ 126123 h 314968"/>
                <a:gd name="connsiteX26" fmla="*/ 276047 w 330016"/>
                <a:gd name="connsiteY26" fmla="*/ 136279 h 314968"/>
                <a:gd name="connsiteX27" fmla="*/ 227342 w 330016"/>
                <a:gd name="connsiteY27" fmla="*/ 184161 h 314968"/>
                <a:gd name="connsiteX28" fmla="*/ 222427 w 330016"/>
                <a:gd name="connsiteY28" fmla="*/ 199264 h 314968"/>
                <a:gd name="connsiteX29" fmla="*/ 233634 w 330016"/>
                <a:gd name="connsiteY29" fmla="*/ 266568 h 314968"/>
                <a:gd name="connsiteX30" fmla="*/ 172960 w 330016"/>
                <a:gd name="connsiteY30" fmla="*/ 235126 h 314968"/>
                <a:gd name="connsiteX31" fmla="*/ 165011 w 330016"/>
                <a:gd name="connsiteY31" fmla="*/ 233188 h 314968"/>
                <a:gd name="connsiteX32" fmla="*/ 157054 w 330016"/>
                <a:gd name="connsiteY32" fmla="*/ 235126 h 314968"/>
                <a:gd name="connsiteX33" fmla="*/ 96380 w 330016"/>
                <a:gd name="connsiteY33" fmla="*/ 266568 h 314968"/>
                <a:gd name="connsiteX34" fmla="*/ 107587 w 330016"/>
                <a:gd name="connsiteY34" fmla="*/ 199264 h 314968"/>
                <a:gd name="connsiteX35" fmla="*/ 102672 w 330016"/>
                <a:gd name="connsiteY35" fmla="*/ 184161 h 314968"/>
                <a:gd name="connsiteX36" fmla="*/ 53974 w 330016"/>
                <a:gd name="connsiteY36" fmla="*/ 136279 h 31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0016" h="314968">
                  <a:moveTo>
                    <a:pt x="5148" y="136642"/>
                  </a:moveTo>
                  <a:lnTo>
                    <a:pt x="72058" y="202439"/>
                  </a:lnTo>
                  <a:lnTo>
                    <a:pt x="56664" y="294914"/>
                  </a:lnTo>
                  <a:cubicBezTo>
                    <a:pt x="55592" y="301354"/>
                    <a:pt x="58255" y="307842"/>
                    <a:pt x="63549" y="311679"/>
                  </a:cubicBezTo>
                  <a:cubicBezTo>
                    <a:pt x="68835" y="315514"/>
                    <a:pt x="75842" y="316032"/>
                    <a:pt x="81647" y="313031"/>
                  </a:cubicBezTo>
                  <a:lnTo>
                    <a:pt x="165011" y="269826"/>
                  </a:lnTo>
                  <a:lnTo>
                    <a:pt x="248367" y="313031"/>
                  </a:lnTo>
                  <a:cubicBezTo>
                    <a:pt x="254126" y="316012"/>
                    <a:pt x="261132" y="315548"/>
                    <a:pt x="266465" y="311679"/>
                  </a:cubicBezTo>
                  <a:cubicBezTo>
                    <a:pt x="271759" y="307842"/>
                    <a:pt x="274422" y="301354"/>
                    <a:pt x="273350" y="294914"/>
                  </a:cubicBezTo>
                  <a:lnTo>
                    <a:pt x="257956" y="202439"/>
                  </a:lnTo>
                  <a:lnTo>
                    <a:pt x="324866" y="136642"/>
                  </a:lnTo>
                  <a:cubicBezTo>
                    <a:pt x="329526" y="132066"/>
                    <a:pt x="331192" y="125254"/>
                    <a:pt x="329169" y="119044"/>
                  </a:cubicBezTo>
                  <a:cubicBezTo>
                    <a:pt x="327146" y="112838"/>
                    <a:pt x="321784" y="108310"/>
                    <a:pt x="315318" y="107333"/>
                  </a:cubicBezTo>
                  <a:lnTo>
                    <a:pt x="222460" y="93382"/>
                  </a:lnTo>
                  <a:lnTo>
                    <a:pt x="180444" y="9523"/>
                  </a:lnTo>
                  <a:cubicBezTo>
                    <a:pt x="177525" y="3688"/>
                    <a:pt x="171544" y="0"/>
                    <a:pt x="165011" y="0"/>
                  </a:cubicBezTo>
                  <a:cubicBezTo>
                    <a:pt x="158470" y="0"/>
                    <a:pt x="152496" y="3688"/>
                    <a:pt x="149570" y="9523"/>
                  </a:cubicBezTo>
                  <a:lnTo>
                    <a:pt x="107554" y="93382"/>
                  </a:lnTo>
                  <a:lnTo>
                    <a:pt x="14696" y="107333"/>
                  </a:lnTo>
                  <a:cubicBezTo>
                    <a:pt x="8229" y="108303"/>
                    <a:pt x="2869" y="112838"/>
                    <a:pt x="846" y="119044"/>
                  </a:cubicBezTo>
                  <a:cubicBezTo>
                    <a:pt x="-1177" y="125254"/>
                    <a:pt x="495" y="132066"/>
                    <a:pt x="5148" y="136642"/>
                  </a:cubicBezTo>
                  <a:close/>
                  <a:moveTo>
                    <a:pt x="121559" y="126123"/>
                  </a:moveTo>
                  <a:cubicBezTo>
                    <a:pt x="127115" y="125289"/>
                    <a:pt x="131916" y="121809"/>
                    <a:pt x="134431" y="116795"/>
                  </a:cubicBezTo>
                  <a:lnTo>
                    <a:pt x="165011" y="55750"/>
                  </a:lnTo>
                  <a:lnTo>
                    <a:pt x="195590" y="116795"/>
                  </a:lnTo>
                  <a:cubicBezTo>
                    <a:pt x="198105" y="121809"/>
                    <a:pt x="202906" y="125289"/>
                    <a:pt x="208462" y="126123"/>
                  </a:cubicBezTo>
                  <a:lnTo>
                    <a:pt x="276047" y="136279"/>
                  </a:lnTo>
                  <a:lnTo>
                    <a:pt x="227342" y="184161"/>
                  </a:lnTo>
                  <a:cubicBezTo>
                    <a:pt x="223344" y="188098"/>
                    <a:pt x="221509" y="193732"/>
                    <a:pt x="222427" y="199264"/>
                  </a:cubicBezTo>
                  <a:lnTo>
                    <a:pt x="233634" y="266568"/>
                  </a:lnTo>
                  <a:lnTo>
                    <a:pt x="172960" y="235126"/>
                  </a:lnTo>
                  <a:cubicBezTo>
                    <a:pt x="170472" y="233834"/>
                    <a:pt x="167741" y="233188"/>
                    <a:pt x="165011" y="233188"/>
                  </a:cubicBezTo>
                  <a:cubicBezTo>
                    <a:pt x="162280" y="233188"/>
                    <a:pt x="159549" y="233834"/>
                    <a:pt x="157054" y="235126"/>
                  </a:cubicBezTo>
                  <a:lnTo>
                    <a:pt x="96380" y="266568"/>
                  </a:lnTo>
                  <a:lnTo>
                    <a:pt x="107587" y="199264"/>
                  </a:lnTo>
                  <a:cubicBezTo>
                    <a:pt x="108512" y="193732"/>
                    <a:pt x="106677" y="188098"/>
                    <a:pt x="102672" y="184161"/>
                  </a:cubicBezTo>
                  <a:lnTo>
                    <a:pt x="53974" y="136279"/>
                  </a:lnTo>
                  <a:close/>
                </a:path>
              </a:pathLst>
            </a:custGeom>
            <a:grpFill/>
            <a:ln w="1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32" name="Freeform 31">
              <a:extLst>
                <a:ext uri="{FF2B5EF4-FFF2-40B4-BE49-F238E27FC236}">
                  <a16:creationId xmlns:a16="http://schemas.microsoft.com/office/drawing/2014/main" id="{F49E9AA8-E0E0-5DFD-0D54-7691BA8027F1}"/>
                </a:ext>
              </a:extLst>
            </p:cNvPr>
            <p:cNvSpPr/>
            <p:nvPr/>
          </p:nvSpPr>
          <p:spPr>
            <a:xfrm>
              <a:off x="827075" y="4999768"/>
              <a:ext cx="34524" cy="34456"/>
            </a:xfrm>
            <a:custGeom>
              <a:avLst/>
              <a:gdLst>
                <a:gd name="connsiteX0" fmla="*/ 34524 w 34524"/>
                <a:gd name="connsiteY0" fmla="*/ 17228 h 34456"/>
                <a:gd name="connsiteX1" fmla="*/ 17262 w 34524"/>
                <a:gd name="connsiteY1" fmla="*/ 34457 h 34456"/>
                <a:gd name="connsiteX2" fmla="*/ 0 w 34524"/>
                <a:gd name="connsiteY2" fmla="*/ 17228 h 34456"/>
                <a:gd name="connsiteX3" fmla="*/ 17262 w 34524"/>
                <a:gd name="connsiteY3" fmla="*/ 0 h 34456"/>
                <a:gd name="connsiteX4" fmla="*/ 34524 w 34524"/>
                <a:gd name="connsiteY4" fmla="*/ 17228 h 3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4" h="34456">
                  <a:moveTo>
                    <a:pt x="34524" y="17228"/>
                  </a:moveTo>
                  <a:cubicBezTo>
                    <a:pt x="34524" y="26744"/>
                    <a:pt x="26796" y="34457"/>
                    <a:pt x="17262" y="34457"/>
                  </a:cubicBezTo>
                  <a:cubicBezTo>
                    <a:pt x="7728" y="34457"/>
                    <a:pt x="0" y="26744"/>
                    <a:pt x="0" y="17228"/>
                  </a:cubicBezTo>
                  <a:cubicBezTo>
                    <a:pt x="0" y="7712"/>
                    <a:pt x="7728" y="0"/>
                    <a:pt x="17262" y="0"/>
                  </a:cubicBezTo>
                  <a:cubicBezTo>
                    <a:pt x="26796" y="0"/>
                    <a:pt x="34524" y="7712"/>
                    <a:pt x="34524" y="17228"/>
                  </a:cubicBezTo>
                  <a:close/>
                </a:path>
              </a:pathLst>
            </a:custGeom>
            <a:grpFill/>
            <a:ln w="1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34" name="Freeform 33">
              <a:extLst>
                <a:ext uri="{FF2B5EF4-FFF2-40B4-BE49-F238E27FC236}">
                  <a16:creationId xmlns:a16="http://schemas.microsoft.com/office/drawing/2014/main" id="{D1360519-396A-19B2-68B2-6D766F45994C}"/>
                </a:ext>
              </a:extLst>
            </p:cNvPr>
            <p:cNvSpPr/>
            <p:nvPr/>
          </p:nvSpPr>
          <p:spPr>
            <a:xfrm>
              <a:off x="516359" y="5009383"/>
              <a:ext cx="655950" cy="872476"/>
            </a:xfrm>
            <a:custGeom>
              <a:avLst/>
              <a:gdLst>
                <a:gd name="connsiteX0" fmla="*/ 246624 w 655950"/>
                <a:gd name="connsiteY0" fmla="*/ 540 h 872476"/>
                <a:gd name="connsiteX1" fmla="*/ 0 w 655950"/>
                <a:gd name="connsiteY1" fmla="*/ 317723 h 872476"/>
                <a:gd name="connsiteX2" fmla="*/ 107969 w 655950"/>
                <a:gd name="connsiteY2" fmla="*/ 560448 h 872476"/>
                <a:gd name="connsiteX3" fmla="*/ 3972 w 655950"/>
                <a:gd name="connsiteY3" fmla="*/ 743369 h 872476"/>
                <a:gd name="connsiteX4" fmla="*/ 5037 w 655950"/>
                <a:gd name="connsiteY4" fmla="*/ 762019 h 872476"/>
                <a:gd name="connsiteX5" fmla="*/ 22495 w 655950"/>
                <a:gd name="connsiteY5" fmla="*/ 768742 h 872476"/>
                <a:gd name="connsiteX6" fmla="*/ 140598 w 655950"/>
                <a:gd name="connsiteY6" fmla="*/ 744265 h 872476"/>
                <a:gd name="connsiteX7" fmla="*/ 182108 w 655950"/>
                <a:gd name="connsiteY7" fmla="*/ 861008 h 872476"/>
                <a:gd name="connsiteX8" fmla="*/ 196855 w 655950"/>
                <a:gd name="connsiteY8" fmla="*/ 872408 h 872476"/>
                <a:gd name="connsiteX9" fmla="*/ 213374 w 655950"/>
                <a:gd name="connsiteY9" fmla="*/ 863759 h 872476"/>
                <a:gd name="connsiteX10" fmla="*/ 327979 w 655950"/>
                <a:gd name="connsiteY10" fmla="*/ 662674 h 872476"/>
                <a:gd name="connsiteX11" fmla="*/ 442576 w 655950"/>
                <a:gd name="connsiteY11" fmla="*/ 863759 h 872476"/>
                <a:gd name="connsiteX12" fmla="*/ 457572 w 655950"/>
                <a:gd name="connsiteY12" fmla="*/ 872468 h 872476"/>
                <a:gd name="connsiteX13" fmla="*/ 459096 w 655950"/>
                <a:gd name="connsiteY13" fmla="*/ 872408 h 872476"/>
                <a:gd name="connsiteX14" fmla="*/ 473850 w 655950"/>
                <a:gd name="connsiteY14" fmla="*/ 861008 h 872476"/>
                <a:gd name="connsiteX15" fmla="*/ 515353 w 655950"/>
                <a:gd name="connsiteY15" fmla="*/ 744265 h 872476"/>
                <a:gd name="connsiteX16" fmla="*/ 633456 w 655950"/>
                <a:gd name="connsiteY16" fmla="*/ 768742 h 872476"/>
                <a:gd name="connsiteX17" fmla="*/ 650913 w 655950"/>
                <a:gd name="connsiteY17" fmla="*/ 762019 h 872476"/>
                <a:gd name="connsiteX18" fmla="*/ 651978 w 655950"/>
                <a:gd name="connsiteY18" fmla="*/ 743369 h 872476"/>
                <a:gd name="connsiteX19" fmla="*/ 547982 w 655950"/>
                <a:gd name="connsiteY19" fmla="*/ 560448 h 872476"/>
                <a:gd name="connsiteX20" fmla="*/ 655950 w 655950"/>
                <a:gd name="connsiteY20" fmla="*/ 317723 h 872476"/>
                <a:gd name="connsiteX21" fmla="*/ 409333 w 655950"/>
                <a:gd name="connsiteY21" fmla="*/ 540 h 872476"/>
                <a:gd name="connsiteX22" fmla="*/ 388335 w 655950"/>
                <a:gd name="connsiteY22" fmla="*/ 12970 h 872476"/>
                <a:gd name="connsiteX23" fmla="*/ 400790 w 655950"/>
                <a:gd name="connsiteY23" fmla="*/ 33927 h 872476"/>
                <a:gd name="connsiteX24" fmla="*/ 621433 w 655950"/>
                <a:gd name="connsiteY24" fmla="*/ 317723 h 872476"/>
                <a:gd name="connsiteX25" fmla="*/ 327979 w 655950"/>
                <a:gd name="connsiteY25" fmla="*/ 610605 h 872476"/>
                <a:gd name="connsiteX26" fmla="*/ 34524 w 655950"/>
                <a:gd name="connsiteY26" fmla="*/ 317723 h 872476"/>
                <a:gd name="connsiteX27" fmla="*/ 255160 w 655950"/>
                <a:gd name="connsiteY27" fmla="*/ 33927 h 872476"/>
                <a:gd name="connsiteX28" fmla="*/ 267622 w 655950"/>
                <a:gd name="connsiteY28" fmla="*/ 12970 h 872476"/>
                <a:gd name="connsiteX29" fmla="*/ 246624 w 655950"/>
                <a:gd name="connsiteY29" fmla="*/ 540 h 872476"/>
                <a:gd name="connsiteX30" fmla="*/ 202026 w 655950"/>
                <a:gd name="connsiteY30" fmla="*/ 813993 h 872476"/>
                <a:gd name="connsiteX31" fmla="*/ 168103 w 655950"/>
                <a:gd name="connsiteY31" fmla="*/ 718585 h 872476"/>
                <a:gd name="connsiteX32" fmla="*/ 148325 w 655950"/>
                <a:gd name="connsiteY32" fmla="*/ 707474 h 872476"/>
                <a:gd name="connsiteX33" fmla="*/ 52825 w 655950"/>
                <a:gd name="connsiteY33" fmla="*/ 727266 h 872476"/>
                <a:gd name="connsiteX34" fmla="*/ 135129 w 655950"/>
                <a:gd name="connsiteY34" fmla="*/ 582495 h 872476"/>
                <a:gd name="connsiteX35" fmla="*/ 299030 w 655950"/>
                <a:gd name="connsiteY35" fmla="*/ 643776 h 872476"/>
                <a:gd name="connsiteX36" fmla="*/ 507625 w 655950"/>
                <a:gd name="connsiteY36" fmla="*/ 707474 h 872476"/>
                <a:gd name="connsiteX37" fmla="*/ 487848 w 655950"/>
                <a:gd name="connsiteY37" fmla="*/ 718585 h 872476"/>
                <a:gd name="connsiteX38" fmla="*/ 453931 w 655950"/>
                <a:gd name="connsiteY38" fmla="*/ 813993 h 872476"/>
                <a:gd name="connsiteX39" fmla="*/ 356920 w 655950"/>
                <a:gd name="connsiteY39" fmla="*/ 643776 h 872476"/>
                <a:gd name="connsiteX40" fmla="*/ 520828 w 655950"/>
                <a:gd name="connsiteY40" fmla="*/ 582495 h 872476"/>
                <a:gd name="connsiteX41" fmla="*/ 603132 w 655950"/>
                <a:gd name="connsiteY41" fmla="*/ 727266 h 87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55950" h="872476">
                  <a:moveTo>
                    <a:pt x="246624" y="540"/>
                  </a:moveTo>
                  <a:cubicBezTo>
                    <a:pt x="101414" y="37534"/>
                    <a:pt x="0" y="167964"/>
                    <a:pt x="0" y="317723"/>
                  </a:cubicBezTo>
                  <a:cubicBezTo>
                    <a:pt x="0" y="410735"/>
                    <a:pt x="39183" y="498378"/>
                    <a:pt x="107969" y="560448"/>
                  </a:cubicBezTo>
                  <a:lnTo>
                    <a:pt x="3972" y="743369"/>
                  </a:lnTo>
                  <a:cubicBezTo>
                    <a:pt x="627" y="749258"/>
                    <a:pt x="1045" y="756554"/>
                    <a:pt x="5037" y="762019"/>
                  </a:cubicBezTo>
                  <a:cubicBezTo>
                    <a:pt x="9029" y="767489"/>
                    <a:pt x="15853" y="770122"/>
                    <a:pt x="22495" y="768742"/>
                  </a:cubicBezTo>
                  <a:lnTo>
                    <a:pt x="140598" y="744265"/>
                  </a:lnTo>
                  <a:lnTo>
                    <a:pt x="182108" y="861008"/>
                  </a:lnTo>
                  <a:cubicBezTo>
                    <a:pt x="184360" y="867360"/>
                    <a:pt x="190126" y="871808"/>
                    <a:pt x="196855" y="872408"/>
                  </a:cubicBezTo>
                  <a:cubicBezTo>
                    <a:pt x="203585" y="873007"/>
                    <a:pt x="210038" y="869622"/>
                    <a:pt x="213374" y="863759"/>
                  </a:cubicBezTo>
                  <a:lnTo>
                    <a:pt x="327979" y="662674"/>
                  </a:lnTo>
                  <a:lnTo>
                    <a:pt x="442576" y="863759"/>
                  </a:lnTo>
                  <a:cubicBezTo>
                    <a:pt x="445664" y="869178"/>
                    <a:pt x="451409" y="872468"/>
                    <a:pt x="457572" y="872468"/>
                  </a:cubicBezTo>
                  <a:cubicBezTo>
                    <a:pt x="458077" y="872468"/>
                    <a:pt x="458590" y="872447"/>
                    <a:pt x="459096" y="872408"/>
                  </a:cubicBezTo>
                  <a:cubicBezTo>
                    <a:pt x="465825" y="871808"/>
                    <a:pt x="471590" y="867353"/>
                    <a:pt x="473850" y="861008"/>
                  </a:cubicBezTo>
                  <a:lnTo>
                    <a:pt x="515353" y="744265"/>
                  </a:lnTo>
                  <a:lnTo>
                    <a:pt x="633456" y="768742"/>
                  </a:lnTo>
                  <a:cubicBezTo>
                    <a:pt x="640092" y="770115"/>
                    <a:pt x="646922" y="767484"/>
                    <a:pt x="650913" y="762019"/>
                  </a:cubicBezTo>
                  <a:cubicBezTo>
                    <a:pt x="654913" y="756554"/>
                    <a:pt x="655324" y="749258"/>
                    <a:pt x="651978" y="743369"/>
                  </a:cubicBezTo>
                  <a:lnTo>
                    <a:pt x="547982" y="560448"/>
                  </a:lnTo>
                  <a:cubicBezTo>
                    <a:pt x="616767" y="498378"/>
                    <a:pt x="655950" y="410735"/>
                    <a:pt x="655950" y="317723"/>
                  </a:cubicBezTo>
                  <a:cubicBezTo>
                    <a:pt x="655950" y="167964"/>
                    <a:pt x="554536" y="37534"/>
                    <a:pt x="409333" y="540"/>
                  </a:cubicBezTo>
                  <a:cubicBezTo>
                    <a:pt x="400087" y="-1815"/>
                    <a:pt x="390695" y="3750"/>
                    <a:pt x="388335" y="12970"/>
                  </a:cubicBezTo>
                  <a:cubicBezTo>
                    <a:pt x="385976" y="22190"/>
                    <a:pt x="391551" y="31571"/>
                    <a:pt x="400790" y="33927"/>
                  </a:cubicBezTo>
                  <a:cubicBezTo>
                    <a:pt x="530701" y="67024"/>
                    <a:pt x="621433" y="183726"/>
                    <a:pt x="621433" y="317723"/>
                  </a:cubicBezTo>
                  <a:cubicBezTo>
                    <a:pt x="621433" y="480806"/>
                    <a:pt x="488724" y="610605"/>
                    <a:pt x="327979" y="610605"/>
                  </a:cubicBezTo>
                  <a:cubicBezTo>
                    <a:pt x="167118" y="610605"/>
                    <a:pt x="34524" y="480700"/>
                    <a:pt x="34524" y="317723"/>
                  </a:cubicBezTo>
                  <a:cubicBezTo>
                    <a:pt x="34524" y="183726"/>
                    <a:pt x="125251" y="67024"/>
                    <a:pt x="255160" y="33927"/>
                  </a:cubicBezTo>
                  <a:cubicBezTo>
                    <a:pt x="264399" y="31571"/>
                    <a:pt x="269975" y="22190"/>
                    <a:pt x="267622" y="12970"/>
                  </a:cubicBezTo>
                  <a:cubicBezTo>
                    <a:pt x="265262" y="3750"/>
                    <a:pt x="255870" y="-1815"/>
                    <a:pt x="246624" y="540"/>
                  </a:cubicBezTo>
                  <a:close/>
                  <a:moveTo>
                    <a:pt x="202026" y="813993"/>
                  </a:moveTo>
                  <a:lnTo>
                    <a:pt x="168103" y="718585"/>
                  </a:lnTo>
                  <a:cubicBezTo>
                    <a:pt x="165216" y="710468"/>
                    <a:pt x="156774" y="705724"/>
                    <a:pt x="148325" y="707474"/>
                  </a:cubicBezTo>
                  <a:lnTo>
                    <a:pt x="52825" y="727266"/>
                  </a:lnTo>
                  <a:lnTo>
                    <a:pt x="135129" y="582495"/>
                  </a:lnTo>
                  <a:cubicBezTo>
                    <a:pt x="183119" y="617315"/>
                    <a:pt x="239942" y="638526"/>
                    <a:pt x="299030" y="643776"/>
                  </a:cubicBezTo>
                  <a:close/>
                  <a:moveTo>
                    <a:pt x="507625" y="707474"/>
                  </a:moveTo>
                  <a:cubicBezTo>
                    <a:pt x="499184" y="705724"/>
                    <a:pt x="490734" y="710468"/>
                    <a:pt x="487848" y="718585"/>
                  </a:cubicBezTo>
                  <a:lnTo>
                    <a:pt x="453931" y="813993"/>
                  </a:lnTo>
                  <a:lnTo>
                    <a:pt x="356920" y="643776"/>
                  </a:lnTo>
                  <a:cubicBezTo>
                    <a:pt x="416015" y="638526"/>
                    <a:pt x="472831" y="617315"/>
                    <a:pt x="520828" y="582495"/>
                  </a:cubicBezTo>
                  <a:lnTo>
                    <a:pt x="603132" y="727266"/>
                  </a:lnTo>
                  <a:close/>
                </a:path>
              </a:pathLst>
            </a:custGeom>
            <a:grpFill/>
            <a:ln w="1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grpSp>
      <p:pic>
        <p:nvPicPr>
          <p:cNvPr id="24" name="Graphic 23">
            <a:extLst>
              <a:ext uri="{FF2B5EF4-FFF2-40B4-BE49-F238E27FC236}">
                <a16:creationId xmlns:a16="http://schemas.microsoft.com/office/drawing/2014/main" id="{E6EFEC4B-4B06-A667-BDED-4E72BF1DB42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12752" y="4937461"/>
            <a:ext cx="432000" cy="432000"/>
          </a:xfrm>
          <a:prstGeom prst="rect">
            <a:avLst/>
          </a:prstGeom>
        </p:spPr>
      </p:pic>
      <p:pic>
        <p:nvPicPr>
          <p:cNvPr id="26" name="Graphic 25">
            <a:extLst>
              <a:ext uri="{FF2B5EF4-FFF2-40B4-BE49-F238E27FC236}">
                <a16:creationId xmlns:a16="http://schemas.microsoft.com/office/drawing/2014/main" id="{621CD7DA-C237-E674-515C-32063958AE6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34008" y="3859169"/>
            <a:ext cx="389145" cy="389145"/>
          </a:xfrm>
          <a:prstGeom prst="rect">
            <a:avLst/>
          </a:prstGeom>
        </p:spPr>
      </p:pic>
      <p:cxnSp>
        <p:nvCxnSpPr>
          <p:cNvPr id="50" name="Straight Connector 49">
            <a:extLst>
              <a:ext uri="{FF2B5EF4-FFF2-40B4-BE49-F238E27FC236}">
                <a16:creationId xmlns:a16="http://schemas.microsoft.com/office/drawing/2014/main" id="{3B4E242A-CEAD-4230-4799-5F8DD5E15C77}"/>
              </a:ext>
            </a:extLst>
          </p:cNvPr>
          <p:cNvCxnSpPr>
            <a:stCxn id="13" idx="3"/>
            <a:endCxn id="39" idx="1"/>
          </p:cNvCxnSpPr>
          <p:nvPr/>
        </p:nvCxnSpPr>
        <p:spPr>
          <a:xfrm flipV="1">
            <a:off x="3822348" y="3075280"/>
            <a:ext cx="1059368" cy="145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367B43E-C49A-209A-DA0B-AB4555B27DDA}"/>
              </a:ext>
            </a:extLst>
          </p:cNvPr>
          <p:cNvCxnSpPr>
            <a:stCxn id="13" idx="0"/>
            <a:endCxn id="45" idx="1"/>
          </p:cNvCxnSpPr>
          <p:nvPr/>
        </p:nvCxnSpPr>
        <p:spPr>
          <a:xfrm flipV="1">
            <a:off x="3822348" y="5153462"/>
            <a:ext cx="1059368" cy="10708"/>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2519811-3867-5FF8-9AD0-B62793D5ECD1}"/>
              </a:ext>
            </a:extLst>
          </p:cNvPr>
          <p:cNvCxnSpPr>
            <a:cxnSpLocks/>
            <a:stCxn id="48" idx="0"/>
          </p:cNvCxnSpPr>
          <p:nvPr/>
        </p:nvCxnSpPr>
        <p:spPr>
          <a:xfrm flipH="1">
            <a:off x="7323626" y="3076730"/>
            <a:ext cx="102445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5B96C20-4BDE-D12F-BEB1-73E5678320D3}"/>
              </a:ext>
            </a:extLst>
          </p:cNvPr>
          <p:cNvCxnSpPr>
            <a:cxnSpLocks/>
            <a:endCxn id="45" idx="3"/>
          </p:cNvCxnSpPr>
          <p:nvPr/>
        </p:nvCxnSpPr>
        <p:spPr>
          <a:xfrm flipH="1" flipV="1">
            <a:off x="7428998" y="5153462"/>
            <a:ext cx="919084" cy="10708"/>
          </a:xfrm>
          <a:prstGeom prst="line">
            <a:avLst/>
          </a:prstGeom>
        </p:spPr>
        <p:style>
          <a:lnRef idx="1">
            <a:schemeClr val="accent1"/>
          </a:lnRef>
          <a:fillRef idx="0">
            <a:schemeClr val="accent1"/>
          </a:fillRef>
          <a:effectRef idx="0">
            <a:schemeClr val="accent1"/>
          </a:effectRef>
          <a:fontRef idx="minor">
            <a:schemeClr val="tx1"/>
          </a:fontRef>
        </p:style>
      </p:cxnSp>
      <p:grpSp>
        <p:nvGrpSpPr>
          <p:cNvPr id="2127" name="Group 2126">
            <a:extLst>
              <a:ext uri="{FF2B5EF4-FFF2-40B4-BE49-F238E27FC236}">
                <a16:creationId xmlns:a16="http://schemas.microsoft.com/office/drawing/2014/main" id="{24F4D7D6-DC66-9F61-00E6-EF12D48358BD}"/>
              </a:ext>
            </a:extLst>
          </p:cNvPr>
          <p:cNvGrpSpPr/>
          <p:nvPr/>
        </p:nvGrpSpPr>
        <p:grpSpPr>
          <a:xfrm rot="16200000">
            <a:off x="8469340" y="3399087"/>
            <a:ext cx="167448" cy="167446"/>
            <a:chOff x="6127603" y="3794907"/>
            <a:chExt cx="167448" cy="167446"/>
          </a:xfrm>
        </p:grpSpPr>
        <p:sp>
          <p:nvSpPr>
            <p:cNvPr id="2128" name="Oval 2127">
              <a:extLst>
                <a:ext uri="{FF2B5EF4-FFF2-40B4-BE49-F238E27FC236}">
                  <a16:creationId xmlns:a16="http://schemas.microsoft.com/office/drawing/2014/main" id="{7273AD71-8C22-FEB7-025D-3DBA97F3F511}"/>
                </a:ext>
              </a:extLst>
            </p:cNvPr>
            <p:cNvSpPr/>
            <p:nvPr/>
          </p:nvSpPr>
          <p:spPr>
            <a:xfrm rot="10800000">
              <a:off x="6127603" y="3794907"/>
              <a:ext cx="167448" cy="167446"/>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2132" name="Graphic 2131">
              <a:extLst>
                <a:ext uri="{FF2B5EF4-FFF2-40B4-BE49-F238E27FC236}">
                  <a16:creationId xmlns:a16="http://schemas.microsoft.com/office/drawing/2014/main" id="{26F8B9C2-A64E-CDD0-A174-2C6A79587E5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800000">
              <a:off x="6159765" y="3847326"/>
              <a:ext cx="78567" cy="62608"/>
            </a:xfrm>
            <a:prstGeom prst="rect">
              <a:avLst/>
            </a:prstGeom>
          </p:spPr>
        </p:pic>
      </p:grpSp>
      <p:grpSp>
        <p:nvGrpSpPr>
          <p:cNvPr id="2144" name="Group 2143">
            <a:extLst>
              <a:ext uri="{FF2B5EF4-FFF2-40B4-BE49-F238E27FC236}">
                <a16:creationId xmlns:a16="http://schemas.microsoft.com/office/drawing/2014/main" id="{7905C786-E732-BC96-6CC5-1B236780028D}"/>
              </a:ext>
            </a:extLst>
          </p:cNvPr>
          <p:cNvGrpSpPr/>
          <p:nvPr/>
        </p:nvGrpSpPr>
        <p:grpSpPr>
          <a:xfrm>
            <a:off x="7675422" y="5074857"/>
            <a:ext cx="167448" cy="167446"/>
            <a:chOff x="6127603" y="3794907"/>
            <a:chExt cx="167448" cy="167446"/>
          </a:xfrm>
        </p:grpSpPr>
        <p:sp>
          <p:nvSpPr>
            <p:cNvPr id="2145" name="Oval 2144">
              <a:extLst>
                <a:ext uri="{FF2B5EF4-FFF2-40B4-BE49-F238E27FC236}">
                  <a16:creationId xmlns:a16="http://schemas.microsoft.com/office/drawing/2014/main" id="{1B0C5B43-96C7-36C6-A587-144AA0C4FCD3}"/>
                </a:ext>
              </a:extLst>
            </p:cNvPr>
            <p:cNvSpPr/>
            <p:nvPr/>
          </p:nvSpPr>
          <p:spPr>
            <a:xfrm rot="10800000">
              <a:off x="6127603" y="3794907"/>
              <a:ext cx="167448" cy="167446"/>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2146" name="Graphic 2145">
              <a:extLst>
                <a:ext uri="{FF2B5EF4-FFF2-40B4-BE49-F238E27FC236}">
                  <a16:creationId xmlns:a16="http://schemas.microsoft.com/office/drawing/2014/main" id="{C5E06132-69E8-414F-EA37-E2C1FC886E9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800000">
              <a:off x="6159765" y="3847326"/>
              <a:ext cx="78567" cy="62608"/>
            </a:xfrm>
            <a:prstGeom prst="rect">
              <a:avLst/>
            </a:prstGeom>
          </p:spPr>
        </p:pic>
      </p:grpSp>
      <p:grpSp>
        <p:nvGrpSpPr>
          <p:cNvPr id="2147" name="Group 2146">
            <a:extLst>
              <a:ext uri="{FF2B5EF4-FFF2-40B4-BE49-F238E27FC236}">
                <a16:creationId xmlns:a16="http://schemas.microsoft.com/office/drawing/2014/main" id="{DDDDA61B-4945-8D8B-8827-BB59FE9C6DBB}"/>
              </a:ext>
            </a:extLst>
          </p:cNvPr>
          <p:cNvGrpSpPr/>
          <p:nvPr/>
        </p:nvGrpSpPr>
        <p:grpSpPr>
          <a:xfrm rot="5400000">
            <a:off x="3533642" y="4599549"/>
            <a:ext cx="167448" cy="167446"/>
            <a:chOff x="6127603" y="3794907"/>
            <a:chExt cx="167448" cy="167446"/>
          </a:xfrm>
        </p:grpSpPr>
        <p:sp>
          <p:nvSpPr>
            <p:cNvPr id="2148" name="Oval 2147">
              <a:extLst>
                <a:ext uri="{FF2B5EF4-FFF2-40B4-BE49-F238E27FC236}">
                  <a16:creationId xmlns:a16="http://schemas.microsoft.com/office/drawing/2014/main" id="{42C3703C-694B-5750-F62A-1E3C57F49C47}"/>
                </a:ext>
              </a:extLst>
            </p:cNvPr>
            <p:cNvSpPr/>
            <p:nvPr/>
          </p:nvSpPr>
          <p:spPr>
            <a:xfrm rot="10800000">
              <a:off x="6127603" y="3794907"/>
              <a:ext cx="167448" cy="167446"/>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2149" name="Graphic 2148">
              <a:extLst>
                <a:ext uri="{FF2B5EF4-FFF2-40B4-BE49-F238E27FC236}">
                  <a16:creationId xmlns:a16="http://schemas.microsoft.com/office/drawing/2014/main" id="{500E1169-E355-3616-8968-70ECD0853C3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800000">
              <a:off x="6159765" y="3847326"/>
              <a:ext cx="78567" cy="62608"/>
            </a:xfrm>
            <a:prstGeom prst="rect">
              <a:avLst/>
            </a:prstGeom>
          </p:spPr>
        </p:pic>
      </p:grpSp>
      <p:grpSp>
        <p:nvGrpSpPr>
          <p:cNvPr id="2150" name="Group 2149">
            <a:extLst>
              <a:ext uri="{FF2B5EF4-FFF2-40B4-BE49-F238E27FC236}">
                <a16:creationId xmlns:a16="http://schemas.microsoft.com/office/drawing/2014/main" id="{18C0FEF8-61A6-74FB-AFEC-72A07BE4F8A9}"/>
              </a:ext>
            </a:extLst>
          </p:cNvPr>
          <p:cNvGrpSpPr/>
          <p:nvPr/>
        </p:nvGrpSpPr>
        <p:grpSpPr>
          <a:xfrm rot="10800000">
            <a:off x="4290893" y="2999944"/>
            <a:ext cx="167448" cy="167446"/>
            <a:chOff x="6127603" y="3794907"/>
            <a:chExt cx="167448" cy="167446"/>
          </a:xfrm>
        </p:grpSpPr>
        <p:sp>
          <p:nvSpPr>
            <p:cNvPr id="2151" name="Oval 2150">
              <a:extLst>
                <a:ext uri="{FF2B5EF4-FFF2-40B4-BE49-F238E27FC236}">
                  <a16:creationId xmlns:a16="http://schemas.microsoft.com/office/drawing/2014/main" id="{9DB4B8A4-06CF-5579-1A36-5703E2B671C6}"/>
                </a:ext>
              </a:extLst>
            </p:cNvPr>
            <p:cNvSpPr/>
            <p:nvPr/>
          </p:nvSpPr>
          <p:spPr>
            <a:xfrm rot="10800000">
              <a:off x="6127603" y="3794907"/>
              <a:ext cx="167448" cy="167446"/>
            </a:xfrm>
            <a:prstGeom prst="ellipse">
              <a:avLst/>
            </a:prstGeom>
            <a:solidFill>
              <a:schemeClr val="bg1"/>
            </a:solid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2152" name="Graphic 2151">
              <a:extLst>
                <a:ext uri="{FF2B5EF4-FFF2-40B4-BE49-F238E27FC236}">
                  <a16:creationId xmlns:a16="http://schemas.microsoft.com/office/drawing/2014/main" id="{BF53CDAB-EF05-E8DC-DF28-6A6D5BEF449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800000">
              <a:off x="6159765" y="3847326"/>
              <a:ext cx="78567" cy="62608"/>
            </a:xfrm>
            <a:prstGeom prst="rect">
              <a:avLst/>
            </a:prstGeom>
          </p:spPr>
        </p:pic>
      </p:grpSp>
      <p:grpSp>
        <p:nvGrpSpPr>
          <p:cNvPr id="2156" name="Group 2155">
            <a:extLst>
              <a:ext uri="{FF2B5EF4-FFF2-40B4-BE49-F238E27FC236}">
                <a16:creationId xmlns:a16="http://schemas.microsoft.com/office/drawing/2014/main" id="{C67ABFCD-4C5B-8FD6-73A3-73027317259D}"/>
              </a:ext>
            </a:extLst>
          </p:cNvPr>
          <p:cNvGrpSpPr/>
          <p:nvPr/>
        </p:nvGrpSpPr>
        <p:grpSpPr>
          <a:xfrm rot="6059141">
            <a:off x="9332738" y="5124154"/>
            <a:ext cx="1145478" cy="975826"/>
            <a:chOff x="667280" y="4570151"/>
            <a:chExt cx="1145478" cy="975826"/>
          </a:xfrm>
          <a:solidFill>
            <a:schemeClr val="accent3"/>
          </a:solidFill>
        </p:grpSpPr>
        <p:sp>
          <p:nvSpPr>
            <p:cNvPr id="2157" name="Freeform: Shape 38">
              <a:extLst>
                <a:ext uri="{FF2B5EF4-FFF2-40B4-BE49-F238E27FC236}">
                  <a16:creationId xmlns:a16="http://schemas.microsoft.com/office/drawing/2014/main" id="{EE7224C8-3B13-C53E-32BE-EB9CDE78E3B6}"/>
                </a:ext>
              </a:extLst>
            </p:cNvPr>
            <p:cNvSpPr/>
            <p:nvPr/>
          </p:nvSpPr>
          <p:spPr>
            <a:xfrm>
              <a:off x="772965" y="4570151"/>
              <a:ext cx="766937" cy="713706"/>
            </a:xfrm>
            <a:custGeom>
              <a:avLst/>
              <a:gdLst>
                <a:gd name="connsiteX0" fmla="*/ 83 w 766937"/>
                <a:gd name="connsiteY0" fmla="*/ 117877 h 713706"/>
                <a:gd name="connsiteX1" fmla="*/ 20961 w 766937"/>
                <a:gd name="connsiteY1" fmla="*/ 227313 h 713706"/>
                <a:gd name="connsiteX2" fmla="*/ 232177 w 766937"/>
                <a:gd name="connsiteY2" fmla="*/ 506034 h 713706"/>
                <a:gd name="connsiteX3" fmla="*/ 464445 w 766937"/>
                <a:gd name="connsiteY3" fmla="*/ 639480 h 713706"/>
                <a:gd name="connsiteX4" fmla="*/ 547610 w 766937"/>
                <a:gd name="connsiteY4" fmla="*/ 671667 h 713706"/>
                <a:gd name="connsiteX5" fmla="*/ 685927 w 766937"/>
                <a:gd name="connsiteY5" fmla="*/ 710987 h 713706"/>
                <a:gd name="connsiteX6" fmla="*/ 726465 w 766937"/>
                <a:gd name="connsiteY6" fmla="*/ 712727 h 713706"/>
                <a:gd name="connsiteX7" fmla="*/ 757086 w 766937"/>
                <a:gd name="connsiteY7" fmla="*/ 636870 h 713706"/>
                <a:gd name="connsiteX8" fmla="*/ 736730 w 766937"/>
                <a:gd name="connsiteY8" fmla="*/ 613730 h 713706"/>
                <a:gd name="connsiteX9" fmla="*/ 550915 w 766937"/>
                <a:gd name="connsiteY9" fmla="*/ 454013 h 713706"/>
                <a:gd name="connsiteX10" fmla="*/ 315516 w 766937"/>
                <a:gd name="connsiteY10" fmla="*/ 199475 h 713706"/>
                <a:gd name="connsiteX11" fmla="*/ 247140 w 766937"/>
                <a:gd name="connsiteY11" fmla="*/ 95781 h 713706"/>
                <a:gd name="connsiteX12" fmla="*/ 178938 w 766937"/>
                <a:gd name="connsiteY12" fmla="*/ 26188 h 713706"/>
                <a:gd name="connsiteX13" fmla="*/ 95252 w 766937"/>
                <a:gd name="connsiteY13" fmla="*/ 264 h 713706"/>
                <a:gd name="connsiteX14" fmla="*/ 33314 w 766937"/>
                <a:gd name="connsiteY14" fmla="*/ 29319 h 713706"/>
                <a:gd name="connsiteX15" fmla="*/ 257 w 766937"/>
                <a:gd name="connsiteY15" fmla="*/ 117703 h 71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6937" h="713706">
                  <a:moveTo>
                    <a:pt x="83" y="117877"/>
                  </a:moveTo>
                  <a:cubicBezTo>
                    <a:pt x="-961" y="155979"/>
                    <a:pt x="7913" y="192168"/>
                    <a:pt x="20961" y="227313"/>
                  </a:cubicBezTo>
                  <a:cubicBezTo>
                    <a:pt x="63935" y="343012"/>
                    <a:pt x="135790" y="435049"/>
                    <a:pt x="232177" y="506034"/>
                  </a:cubicBezTo>
                  <a:cubicBezTo>
                    <a:pt x="305077" y="559796"/>
                    <a:pt x="382673" y="604161"/>
                    <a:pt x="464445" y="639480"/>
                  </a:cubicBezTo>
                  <a:cubicBezTo>
                    <a:pt x="491761" y="651311"/>
                    <a:pt x="519424" y="661924"/>
                    <a:pt x="547610" y="671667"/>
                  </a:cubicBezTo>
                  <a:cubicBezTo>
                    <a:pt x="593193" y="687325"/>
                    <a:pt x="638603" y="703158"/>
                    <a:pt x="685927" y="710987"/>
                  </a:cubicBezTo>
                  <a:cubicBezTo>
                    <a:pt x="699323" y="713249"/>
                    <a:pt x="712894" y="714815"/>
                    <a:pt x="726465" y="712727"/>
                  </a:cubicBezTo>
                  <a:cubicBezTo>
                    <a:pt x="763175" y="706985"/>
                    <a:pt x="778660" y="668535"/>
                    <a:pt x="757086" y="636870"/>
                  </a:cubicBezTo>
                  <a:cubicBezTo>
                    <a:pt x="751170" y="628345"/>
                    <a:pt x="744037" y="620864"/>
                    <a:pt x="736730" y="613730"/>
                  </a:cubicBezTo>
                  <a:cubicBezTo>
                    <a:pt x="677575" y="557012"/>
                    <a:pt x="617203" y="501685"/>
                    <a:pt x="550915" y="454013"/>
                  </a:cubicBezTo>
                  <a:cubicBezTo>
                    <a:pt x="456094" y="385812"/>
                    <a:pt x="377628" y="301082"/>
                    <a:pt x="315516" y="199475"/>
                  </a:cubicBezTo>
                  <a:cubicBezTo>
                    <a:pt x="293942" y="164157"/>
                    <a:pt x="271846" y="128838"/>
                    <a:pt x="247140" y="95781"/>
                  </a:cubicBezTo>
                  <a:cubicBezTo>
                    <a:pt x="227306" y="69336"/>
                    <a:pt x="205906" y="44804"/>
                    <a:pt x="178938" y="26188"/>
                  </a:cubicBezTo>
                  <a:cubicBezTo>
                    <a:pt x="153537" y="8615"/>
                    <a:pt x="126047" y="-1824"/>
                    <a:pt x="95252" y="264"/>
                  </a:cubicBezTo>
                  <a:cubicBezTo>
                    <a:pt x="71243" y="2004"/>
                    <a:pt x="50365" y="11747"/>
                    <a:pt x="33314" y="29319"/>
                  </a:cubicBezTo>
                  <a:cubicBezTo>
                    <a:pt x="9826" y="53503"/>
                    <a:pt x="1301" y="84124"/>
                    <a:pt x="257" y="117703"/>
                  </a:cubicBezTo>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2158" name="Freeform: Shape 39">
              <a:extLst>
                <a:ext uri="{FF2B5EF4-FFF2-40B4-BE49-F238E27FC236}">
                  <a16:creationId xmlns:a16="http://schemas.microsoft.com/office/drawing/2014/main" id="{38017591-81AB-C0E9-DAAE-BE8779383B0B}"/>
                </a:ext>
              </a:extLst>
            </p:cNvPr>
            <p:cNvSpPr/>
            <p:nvPr/>
          </p:nvSpPr>
          <p:spPr>
            <a:xfrm>
              <a:off x="1243488" y="4764347"/>
              <a:ext cx="329050" cy="266176"/>
            </a:xfrm>
            <a:custGeom>
              <a:avLst/>
              <a:gdLst>
                <a:gd name="connsiteX0" fmla="*/ 8363 w 329050"/>
                <a:gd name="connsiteY0" fmla="*/ 72611 h 266176"/>
                <a:gd name="connsiteX1" fmla="*/ 24717 w 329050"/>
                <a:gd name="connsiteY1" fmla="*/ 93489 h 266176"/>
                <a:gd name="connsiteX2" fmla="*/ 135197 w 329050"/>
                <a:gd name="connsiteY2" fmla="*/ 198575 h 266176"/>
                <a:gd name="connsiteX3" fmla="*/ 244807 w 329050"/>
                <a:gd name="connsiteY3" fmla="*/ 260687 h 266176"/>
                <a:gd name="connsiteX4" fmla="*/ 286041 w 329050"/>
                <a:gd name="connsiteY4" fmla="*/ 265559 h 266176"/>
                <a:gd name="connsiteX5" fmla="*/ 328667 w 329050"/>
                <a:gd name="connsiteY5" fmla="*/ 203969 h 266176"/>
                <a:gd name="connsiteX6" fmla="*/ 309355 w 329050"/>
                <a:gd name="connsiteY6" fmla="*/ 166040 h 266176"/>
                <a:gd name="connsiteX7" fmla="*/ 272470 w 329050"/>
                <a:gd name="connsiteY7" fmla="*/ 131765 h 266176"/>
                <a:gd name="connsiteX8" fmla="*/ 141112 w 329050"/>
                <a:gd name="connsiteY8" fmla="*/ 40250 h 266176"/>
                <a:gd name="connsiteX9" fmla="*/ 87699 w 329050"/>
                <a:gd name="connsiteY9" fmla="*/ 9107 h 266176"/>
                <a:gd name="connsiteX10" fmla="*/ 40724 w 329050"/>
                <a:gd name="connsiteY10" fmla="*/ 408 h 266176"/>
                <a:gd name="connsiteX11" fmla="*/ 8363 w 329050"/>
                <a:gd name="connsiteY11" fmla="*/ 72611 h 26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050" h="266176">
                  <a:moveTo>
                    <a:pt x="8363" y="72611"/>
                  </a:moveTo>
                  <a:cubicBezTo>
                    <a:pt x="13061" y="80092"/>
                    <a:pt x="18802" y="87052"/>
                    <a:pt x="24717" y="93489"/>
                  </a:cubicBezTo>
                  <a:cubicBezTo>
                    <a:pt x="59688" y="130722"/>
                    <a:pt x="96225" y="166214"/>
                    <a:pt x="135197" y="198575"/>
                  </a:cubicBezTo>
                  <a:cubicBezTo>
                    <a:pt x="168254" y="226065"/>
                    <a:pt x="203920" y="248856"/>
                    <a:pt x="244807" y="260687"/>
                  </a:cubicBezTo>
                  <a:cubicBezTo>
                    <a:pt x="258377" y="264689"/>
                    <a:pt x="271948" y="267472"/>
                    <a:pt x="286041" y="265559"/>
                  </a:cubicBezTo>
                  <a:cubicBezTo>
                    <a:pt x="315618" y="261731"/>
                    <a:pt x="331798" y="240853"/>
                    <a:pt x="328667" y="203969"/>
                  </a:cubicBezTo>
                  <a:cubicBezTo>
                    <a:pt x="327623" y="192834"/>
                    <a:pt x="319968" y="178741"/>
                    <a:pt x="309355" y="166040"/>
                  </a:cubicBezTo>
                  <a:cubicBezTo>
                    <a:pt x="298394" y="152991"/>
                    <a:pt x="285693" y="142030"/>
                    <a:pt x="272470" y="131765"/>
                  </a:cubicBezTo>
                  <a:cubicBezTo>
                    <a:pt x="230366" y="98535"/>
                    <a:pt x="184782" y="70871"/>
                    <a:pt x="141112" y="40250"/>
                  </a:cubicBezTo>
                  <a:cubicBezTo>
                    <a:pt x="124062" y="28419"/>
                    <a:pt x="106664" y="17284"/>
                    <a:pt x="87699" y="9107"/>
                  </a:cubicBezTo>
                  <a:cubicBezTo>
                    <a:pt x="72563" y="2670"/>
                    <a:pt x="57078" y="-1332"/>
                    <a:pt x="40724" y="408"/>
                  </a:cubicBezTo>
                  <a:cubicBezTo>
                    <a:pt x="5405" y="4409"/>
                    <a:pt x="-11297" y="41642"/>
                    <a:pt x="8363" y="72611"/>
                  </a:cubicBezTo>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2159" name="Freeform: Shape 40">
              <a:extLst>
                <a:ext uri="{FF2B5EF4-FFF2-40B4-BE49-F238E27FC236}">
                  <a16:creationId xmlns:a16="http://schemas.microsoft.com/office/drawing/2014/main" id="{71339B0D-11B2-AB19-D1BA-56601EE744DF}"/>
                </a:ext>
              </a:extLst>
            </p:cNvPr>
            <p:cNvSpPr/>
            <p:nvPr/>
          </p:nvSpPr>
          <p:spPr>
            <a:xfrm>
              <a:off x="1217741" y="5306385"/>
              <a:ext cx="310877" cy="239592"/>
            </a:xfrm>
            <a:custGeom>
              <a:avLst/>
              <a:gdLst>
                <a:gd name="connsiteX0" fmla="*/ 9230 w 310877"/>
                <a:gd name="connsiteY0" fmla="*/ 127511 h 239592"/>
                <a:gd name="connsiteX1" fmla="*/ 50291 w 310877"/>
                <a:gd name="connsiteY1" fmla="*/ 176052 h 239592"/>
                <a:gd name="connsiteX2" fmla="*/ 191391 w 310877"/>
                <a:gd name="connsiteY2" fmla="*/ 237468 h 239592"/>
                <a:gd name="connsiteX3" fmla="*/ 288822 w 310877"/>
                <a:gd name="connsiteY3" fmla="*/ 205977 h 239592"/>
                <a:gd name="connsiteX4" fmla="*/ 299261 w 310877"/>
                <a:gd name="connsiteY4" fmla="*/ 121073 h 239592"/>
                <a:gd name="connsiteX5" fmla="*/ 130323 w 310877"/>
                <a:gd name="connsiteY5" fmla="*/ 3808 h 239592"/>
                <a:gd name="connsiteX6" fmla="*/ 63339 w 310877"/>
                <a:gd name="connsiteY6" fmla="*/ 4156 h 239592"/>
                <a:gd name="connsiteX7" fmla="*/ 9404 w 310877"/>
                <a:gd name="connsiteY7" fmla="*/ 127511 h 23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877" h="239592">
                  <a:moveTo>
                    <a:pt x="9230" y="127511"/>
                  </a:moveTo>
                  <a:cubicBezTo>
                    <a:pt x="18626" y="147693"/>
                    <a:pt x="33066" y="163351"/>
                    <a:pt x="50291" y="176052"/>
                  </a:cubicBezTo>
                  <a:cubicBezTo>
                    <a:pt x="92917" y="207543"/>
                    <a:pt x="140588" y="227203"/>
                    <a:pt x="191391" y="237468"/>
                  </a:cubicBezTo>
                  <a:cubicBezTo>
                    <a:pt x="228798" y="244949"/>
                    <a:pt x="261333" y="232249"/>
                    <a:pt x="288822" y="205977"/>
                  </a:cubicBezTo>
                  <a:cubicBezTo>
                    <a:pt x="313180" y="182837"/>
                    <a:pt x="318399" y="147345"/>
                    <a:pt x="299261" y="121073"/>
                  </a:cubicBezTo>
                  <a:cubicBezTo>
                    <a:pt x="255765" y="61919"/>
                    <a:pt x="201830" y="18771"/>
                    <a:pt x="130323" y="3808"/>
                  </a:cubicBezTo>
                  <a:cubicBezTo>
                    <a:pt x="107879" y="-889"/>
                    <a:pt x="85609" y="-1759"/>
                    <a:pt x="63339" y="4156"/>
                  </a:cubicBezTo>
                  <a:cubicBezTo>
                    <a:pt x="9752" y="18423"/>
                    <a:pt x="-14953" y="75315"/>
                    <a:pt x="9404" y="127511"/>
                  </a:cubicBezTo>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2160" name="Freeform: Shape 41">
              <a:extLst>
                <a:ext uri="{FF2B5EF4-FFF2-40B4-BE49-F238E27FC236}">
                  <a16:creationId xmlns:a16="http://schemas.microsoft.com/office/drawing/2014/main" id="{10D4B323-17FE-BC05-4169-8363A4B04E3C}"/>
                </a:ext>
              </a:extLst>
            </p:cNvPr>
            <p:cNvSpPr/>
            <p:nvPr/>
          </p:nvSpPr>
          <p:spPr>
            <a:xfrm>
              <a:off x="1566660" y="5046015"/>
              <a:ext cx="246098" cy="209539"/>
            </a:xfrm>
            <a:custGeom>
              <a:avLst/>
              <a:gdLst>
                <a:gd name="connsiteX0" fmla="*/ 5495 w 246098"/>
                <a:gd name="connsiteY0" fmla="*/ 51918 h 209539"/>
                <a:gd name="connsiteX1" fmla="*/ 20632 w 246098"/>
                <a:gd name="connsiteY1" fmla="*/ 128297 h 209539"/>
                <a:gd name="connsiteX2" fmla="*/ 180697 w 246098"/>
                <a:gd name="connsiteY2" fmla="*/ 209373 h 209539"/>
                <a:gd name="connsiteX3" fmla="*/ 245767 w 246098"/>
                <a:gd name="connsiteY3" fmla="*/ 134212 h 209539"/>
                <a:gd name="connsiteX4" fmla="*/ 221583 w 246098"/>
                <a:gd name="connsiteY4" fmla="*/ 77668 h 209539"/>
                <a:gd name="connsiteX5" fmla="*/ 111277 w 246098"/>
                <a:gd name="connsiteY5" fmla="*/ 4942 h 209539"/>
                <a:gd name="connsiteX6" fmla="*/ 73349 w 246098"/>
                <a:gd name="connsiteY6" fmla="*/ 767 h 209539"/>
                <a:gd name="connsiteX7" fmla="*/ 5495 w 246098"/>
                <a:gd name="connsiteY7" fmla="*/ 51918 h 209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098" h="209539">
                  <a:moveTo>
                    <a:pt x="5495" y="51918"/>
                  </a:moveTo>
                  <a:cubicBezTo>
                    <a:pt x="-6683" y="80103"/>
                    <a:pt x="2712" y="105853"/>
                    <a:pt x="20632" y="128297"/>
                  </a:cubicBezTo>
                  <a:cubicBezTo>
                    <a:pt x="62214" y="180840"/>
                    <a:pt x="117889" y="205197"/>
                    <a:pt x="180697" y="209373"/>
                  </a:cubicBezTo>
                  <a:cubicBezTo>
                    <a:pt x="222627" y="212157"/>
                    <a:pt x="249420" y="179622"/>
                    <a:pt x="245767" y="134212"/>
                  </a:cubicBezTo>
                  <a:cubicBezTo>
                    <a:pt x="243679" y="114204"/>
                    <a:pt x="236198" y="94196"/>
                    <a:pt x="221583" y="77668"/>
                  </a:cubicBezTo>
                  <a:cubicBezTo>
                    <a:pt x="190962" y="43045"/>
                    <a:pt x="154425" y="18339"/>
                    <a:pt x="111277" y="4942"/>
                  </a:cubicBezTo>
                  <a:cubicBezTo>
                    <a:pt x="98925" y="1115"/>
                    <a:pt x="86224" y="-1321"/>
                    <a:pt x="73349" y="767"/>
                  </a:cubicBezTo>
                  <a:cubicBezTo>
                    <a:pt x="42380" y="5638"/>
                    <a:pt x="18544" y="21993"/>
                    <a:pt x="5495" y="51918"/>
                  </a:cubicBezTo>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2161" name="Freeform: Shape 42">
              <a:extLst>
                <a:ext uri="{FF2B5EF4-FFF2-40B4-BE49-F238E27FC236}">
                  <a16:creationId xmlns:a16="http://schemas.microsoft.com/office/drawing/2014/main" id="{D6DDF5DC-BF4B-AC6F-FACA-7AA0C9FAC30D}"/>
                </a:ext>
              </a:extLst>
            </p:cNvPr>
            <p:cNvSpPr/>
            <p:nvPr/>
          </p:nvSpPr>
          <p:spPr>
            <a:xfrm>
              <a:off x="667280" y="5129455"/>
              <a:ext cx="481258" cy="306173"/>
            </a:xfrm>
            <a:custGeom>
              <a:avLst/>
              <a:gdLst>
                <a:gd name="connsiteX0" fmla="*/ 33392 w 481258"/>
                <a:gd name="connsiteY0" fmla="*/ 8146 h 306173"/>
                <a:gd name="connsiteX1" fmla="*/ 10948 w 481258"/>
                <a:gd name="connsiteY1" fmla="*/ 84351 h 306173"/>
                <a:gd name="connsiteX2" fmla="*/ 42787 w 481258"/>
                <a:gd name="connsiteY2" fmla="*/ 110448 h 306173"/>
                <a:gd name="connsiteX3" fmla="*/ 100897 w 481258"/>
                <a:gd name="connsiteY3" fmla="*/ 129065 h 306173"/>
                <a:gd name="connsiteX4" fmla="*/ 185105 w 481258"/>
                <a:gd name="connsiteY4" fmla="*/ 160904 h 306173"/>
                <a:gd name="connsiteX5" fmla="*/ 279230 w 481258"/>
                <a:gd name="connsiteY5" fmla="*/ 233455 h 306173"/>
                <a:gd name="connsiteX6" fmla="*/ 346736 w 481258"/>
                <a:gd name="connsiteY6" fmla="*/ 285128 h 306173"/>
                <a:gd name="connsiteX7" fmla="*/ 406238 w 481258"/>
                <a:gd name="connsiteY7" fmla="*/ 306006 h 306173"/>
                <a:gd name="connsiteX8" fmla="*/ 481051 w 481258"/>
                <a:gd name="connsiteY8" fmla="*/ 236760 h 306173"/>
                <a:gd name="connsiteX9" fmla="*/ 466959 w 481258"/>
                <a:gd name="connsiteY9" fmla="*/ 170647 h 306173"/>
                <a:gd name="connsiteX10" fmla="*/ 335079 w 481258"/>
                <a:gd name="connsiteY10" fmla="*/ 40855 h 306173"/>
                <a:gd name="connsiteX11" fmla="*/ 310895 w 481258"/>
                <a:gd name="connsiteY11" fmla="*/ 30938 h 306173"/>
                <a:gd name="connsiteX12" fmla="*/ 48006 w 481258"/>
                <a:gd name="connsiteY12" fmla="*/ 4492 h 306173"/>
                <a:gd name="connsiteX13" fmla="*/ 33392 w 481258"/>
                <a:gd name="connsiteY13" fmla="*/ 7798 h 30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258" h="306173">
                  <a:moveTo>
                    <a:pt x="33392" y="8146"/>
                  </a:moveTo>
                  <a:cubicBezTo>
                    <a:pt x="509" y="18933"/>
                    <a:pt x="-10278" y="55296"/>
                    <a:pt x="10948" y="84351"/>
                  </a:cubicBezTo>
                  <a:cubicBezTo>
                    <a:pt x="19473" y="96008"/>
                    <a:pt x="30608" y="103837"/>
                    <a:pt x="42787" y="110448"/>
                  </a:cubicBezTo>
                  <a:cubicBezTo>
                    <a:pt x="61055" y="120366"/>
                    <a:pt x="80715" y="125933"/>
                    <a:pt x="100897" y="129065"/>
                  </a:cubicBezTo>
                  <a:cubicBezTo>
                    <a:pt x="130996" y="133936"/>
                    <a:pt x="158660" y="145245"/>
                    <a:pt x="185105" y="160904"/>
                  </a:cubicBezTo>
                  <a:cubicBezTo>
                    <a:pt x="219206" y="181086"/>
                    <a:pt x="249131" y="207357"/>
                    <a:pt x="279230" y="233455"/>
                  </a:cubicBezTo>
                  <a:cubicBezTo>
                    <a:pt x="300630" y="252245"/>
                    <a:pt x="322378" y="270687"/>
                    <a:pt x="346736" y="285128"/>
                  </a:cubicBezTo>
                  <a:cubicBezTo>
                    <a:pt x="365352" y="296089"/>
                    <a:pt x="384665" y="304614"/>
                    <a:pt x="406238" y="306006"/>
                  </a:cubicBezTo>
                  <a:cubicBezTo>
                    <a:pt x="447821" y="308616"/>
                    <a:pt x="478442" y="280430"/>
                    <a:pt x="481051" y="236760"/>
                  </a:cubicBezTo>
                  <a:cubicBezTo>
                    <a:pt x="482443" y="213273"/>
                    <a:pt x="476702" y="191351"/>
                    <a:pt x="466959" y="170647"/>
                  </a:cubicBezTo>
                  <a:cubicBezTo>
                    <a:pt x="438773" y="110275"/>
                    <a:pt x="392668" y="69910"/>
                    <a:pt x="335079" y="40855"/>
                  </a:cubicBezTo>
                  <a:cubicBezTo>
                    <a:pt x="327598" y="37723"/>
                    <a:pt x="319421" y="34070"/>
                    <a:pt x="310895" y="30938"/>
                  </a:cubicBezTo>
                  <a:cubicBezTo>
                    <a:pt x="225122" y="-727"/>
                    <a:pt x="137086" y="-5077"/>
                    <a:pt x="48006" y="4492"/>
                  </a:cubicBezTo>
                  <a:cubicBezTo>
                    <a:pt x="43135" y="5014"/>
                    <a:pt x="38089" y="6232"/>
                    <a:pt x="33392" y="7798"/>
                  </a:cubicBezTo>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7556478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A3F5E-CCFC-C13F-5BF0-DAB00788C95C}"/>
              </a:ext>
            </a:extLst>
          </p:cNvPr>
          <p:cNvSpPr>
            <a:spLocks noGrp="1"/>
          </p:cNvSpPr>
          <p:nvPr>
            <p:ph type="title"/>
          </p:nvPr>
        </p:nvSpPr>
        <p:spPr/>
        <p:txBody>
          <a:bodyPr>
            <a:normAutofit fontScale="90000"/>
          </a:bodyPr>
          <a:lstStyle/>
          <a:p>
            <a:r>
              <a:rPr lang="en-CH" dirty="0"/>
              <a:t>Contribution </a:t>
            </a:r>
            <a:r>
              <a:rPr lang="en-CH" dirty="0" err="1"/>
              <a:t>du GARDP </a:t>
            </a:r>
            <a:r>
              <a:rPr lang="en-CH" dirty="0"/>
              <a:t>à l'écosystème pour le développement et l'accès aux antibiotiques (1/2)</a:t>
            </a:r>
            <a:endParaRPr lang="en-US" dirty="0"/>
          </a:p>
        </p:txBody>
      </p:sp>
      <p:sp>
        <p:nvSpPr>
          <p:cNvPr id="3" name="Text Placeholder 2">
            <a:extLst>
              <a:ext uri="{FF2B5EF4-FFF2-40B4-BE49-F238E27FC236}">
                <a16:creationId xmlns:a16="http://schemas.microsoft.com/office/drawing/2014/main" id="{6C57D4B6-A9A5-3C2D-3B31-721C5CF4343D}"/>
              </a:ext>
            </a:extLst>
          </p:cNvPr>
          <p:cNvSpPr>
            <a:spLocks noGrp="1"/>
          </p:cNvSpPr>
          <p:nvPr>
            <p:ph type="body" idx="4294967295"/>
          </p:nvPr>
        </p:nvSpPr>
        <p:spPr>
          <a:xfrm>
            <a:off x="762420" y="1343340"/>
            <a:ext cx="10663237" cy="4992688"/>
          </a:xfrm>
          <a:prstGeom prst="rect">
            <a:avLst/>
          </a:prstGeom>
        </p:spPr>
        <p:txBody>
          <a:bodyPr>
            <a:noAutofit/>
          </a:bodyPr>
          <a:lstStyle/>
          <a:p>
            <a:pPr marL="0" indent="0">
              <a:buNone/>
            </a:pPr>
            <a:r>
              <a:rPr lang="en-CH" sz="2000" dirty="0">
                <a:solidFill>
                  <a:schemeClr val="tx1"/>
                </a:solidFill>
                <a:latin typeface="+mj-lt"/>
              </a:rPr>
              <a:t>Établissement et gestion de partenariats commerciaux</a:t>
            </a:r>
          </a:p>
          <a:p>
            <a:pPr marL="571500" indent="-342900">
              <a:buFont typeface="Arial" panose="020B0604020202020204" pitchFamily="34" charset="0"/>
              <a:buChar char="•"/>
            </a:pPr>
            <a:r>
              <a:rPr lang="es-ES" sz="2000" dirty="0">
                <a:solidFill>
                  <a:srgbClr val="18A1AB"/>
                </a:solidFill>
                <a:latin typeface="+mj-lt"/>
                <a:cs typeface="Arial"/>
                <a:sym typeface="Arial"/>
              </a:rPr>
              <a:t>A</a:t>
            </a:r>
            <a:r>
              <a:rPr lang="en-CH" sz="2000" dirty="0">
                <a:solidFill>
                  <a:srgbClr val="18A1AB"/>
                </a:solidFill>
                <a:latin typeface="+mj-lt"/>
                <a:cs typeface="Arial"/>
                <a:sym typeface="Arial"/>
              </a:rPr>
              <a:t>cquisition de licences</a:t>
            </a:r>
            <a:r>
              <a:rPr lang="es-ES" sz="2000" dirty="0">
                <a:solidFill>
                  <a:srgbClr val="18A1AB"/>
                </a:solidFill>
                <a:latin typeface="+mj-lt"/>
                <a:cs typeface="Arial"/>
                <a:sym typeface="Arial"/>
              </a:rPr>
              <a:t> (“in- and </a:t>
            </a:r>
            <a:r>
              <a:rPr lang="es-ES" sz="2000" dirty="0" err="1">
                <a:solidFill>
                  <a:srgbClr val="18A1AB"/>
                </a:solidFill>
                <a:latin typeface="+mj-lt"/>
                <a:cs typeface="Arial"/>
                <a:sym typeface="Arial"/>
              </a:rPr>
              <a:t>out-licenses</a:t>
            </a:r>
            <a:r>
              <a:rPr lang="es-ES" sz="2000" dirty="0">
                <a:solidFill>
                  <a:srgbClr val="18A1AB"/>
                </a:solidFill>
                <a:latin typeface="+mj-lt"/>
                <a:cs typeface="Arial"/>
                <a:sym typeface="Arial"/>
              </a:rPr>
              <a:t>”)</a:t>
            </a:r>
            <a:r>
              <a:rPr lang="en-CH" sz="2000" dirty="0">
                <a:solidFill>
                  <a:srgbClr val="18A1AB"/>
                </a:solidFill>
                <a:latin typeface="+mj-lt"/>
                <a:cs typeface="Arial"/>
                <a:sym typeface="Arial"/>
              </a:rPr>
              <a:t> afin d'établir les partenariats nécessaires à une fabrication de qualité, à la commercialisation et à un accès approprié</a:t>
            </a:r>
          </a:p>
          <a:p>
            <a:pPr marL="571500" indent="-342900">
              <a:spcBef>
                <a:spcPts val="0"/>
              </a:spcBef>
              <a:buFont typeface="Arial" panose="020B0604020202020204" pitchFamily="34" charset="0"/>
              <a:buChar char="•"/>
            </a:pPr>
            <a:r>
              <a:rPr lang="en-CH" sz="2000" dirty="0">
                <a:solidFill>
                  <a:srgbClr val="18A1AB"/>
                </a:solidFill>
                <a:latin typeface="+mj-lt"/>
                <a:cs typeface="Arial"/>
                <a:sym typeface="Arial"/>
              </a:rPr>
              <a:t>Gestion continue d'un réseau de partenaires nécessaires pour garantir un approvisionnement constant</a:t>
            </a:r>
          </a:p>
          <a:p>
            <a:pPr marL="0" indent="0">
              <a:buNone/>
            </a:pPr>
            <a:r>
              <a:rPr lang="en-CH" sz="2000" dirty="0">
                <a:solidFill>
                  <a:schemeClr val="tx1"/>
                </a:solidFill>
                <a:latin typeface="+mj-lt"/>
              </a:rPr>
              <a:t>CMC pour un approvisionnement de qualité, durable et abordable</a:t>
            </a:r>
          </a:p>
          <a:p>
            <a:pPr marL="571500" indent="-342900"/>
            <a:r>
              <a:rPr lang="en-CH" sz="2000" dirty="0">
                <a:solidFill>
                  <a:srgbClr val="18A1AB"/>
                </a:solidFill>
                <a:latin typeface="+mj-lt"/>
                <a:cs typeface="Arial"/>
              </a:rPr>
              <a:t>Soutien au développement de produits pour les fabricants d'origine et les fabricants sous licence</a:t>
            </a:r>
          </a:p>
          <a:p>
            <a:pPr marL="571500" indent="-342900">
              <a:spcBef>
                <a:spcPts val="0"/>
              </a:spcBef>
            </a:pPr>
            <a:r>
              <a:rPr lang="en-CH" sz="2000" dirty="0">
                <a:solidFill>
                  <a:srgbClr val="18A1AB"/>
                </a:solidFill>
                <a:latin typeface="+mj-lt"/>
                <a:cs typeface="Arial"/>
              </a:rPr>
              <a:t>Réduction des coûts de revient et optimisation de l'efficacité de la fabrication à grande échelle</a:t>
            </a:r>
          </a:p>
          <a:p>
            <a:pPr marL="571500" indent="-342900">
              <a:spcBef>
                <a:spcPts val="0"/>
              </a:spcBef>
            </a:pPr>
            <a:r>
              <a:rPr lang="en-CH" sz="2000" dirty="0">
                <a:solidFill>
                  <a:srgbClr val="18A1AB"/>
                </a:solidFill>
                <a:latin typeface="+mj-lt"/>
                <a:cs typeface="Arial"/>
              </a:rPr>
              <a:t>Réduction des goulots d'étranglement dans l'approvisionnement afin d'améliorer la sécurité de l'approvisionnement (pour toutes les zones géographiques)</a:t>
            </a:r>
          </a:p>
          <a:p>
            <a:pPr marL="0" indent="0">
              <a:buNone/>
            </a:pPr>
            <a:r>
              <a:rPr lang="en-CH" sz="2000" dirty="0">
                <a:solidFill>
                  <a:schemeClr val="tx1"/>
                </a:solidFill>
                <a:latin typeface="+mj-lt"/>
              </a:rPr>
              <a:t>Production de données probantes pour garantir une entrée solide</a:t>
            </a:r>
          </a:p>
          <a:p>
            <a:pPr marL="571500" indent="-342900"/>
            <a:r>
              <a:rPr lang="en-CH" sz="2000" dirty="0">
                <a:solidFill>
                  <a:srgbClr val="18A1AB"/>
                </a:solidFill>
                <a:latin typeface="+mj-lt"/>
                <a:cs typeface="Arial"/>
              </a:rPr>
              <a:t>Accélération de la production de preuves auprès de différentes populations, en particulier pédiatriques, afin d'élargir l'accès approprié</a:t>
            </a:r>
          </a:p>
          <a:p>
            <a:pPr marL="571500" indent="-342900">
              <a:spcBef>
                <a:spcPts val="0"/>
              </a:spcBef>
            </a:pPr>
            <a:r>
              <a:rPr lang="en-CH" sz="2000" dirty="0">
                <a:solidFill>
                  <a:srgbClr val="18A1AB"/>
                </a:solidFill>
                <a:latin typeface="+mj-lt"/>
                <a:cs typeface="Arial"/>
              </a:rPr>
              <a:t>Développer des preuves locales, y compris la surveillance et les évaluations des technologies de santé nécessaires à l'entrée des produits sur le marché</a:t>
            </a:r>
          </a:p>
        </p:txBody>
      </p:sp>
    </p:spTree>
    <p:extLst>
      <p:ext uri="{BB962C8B-B14F-4D97-AF65-F5344CB8AC3E}">
        <p14:creationId xmlns:p14="http://schemas.microsoft.com/office/powerpoint/2010/main" val="15458847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A3F5E-CCFC-C13F-5BF0-DAB00788C95C}"/>
              </a:ext>
            </a:extLst>
          </p:cNvPr>
          <p:cNvSpPr>
            <a:spLocks noGrp="1"/>
          </p:cNvSpPr>
          <p:nvPr>
            <p:ph type="title"/>
          </p:nvPr>
        </p:nvSpPr>
        <p:spPr>
          <a:xfrm>
            <a:off x="495299" y="142130"/>
            <a:ext cx="11206162" cy="1325563"/>
          </a:xfrm>
        </p:spPr>
        <p:txBody>
          <a:bodyPr>
            <a:normAutofit/>
          </a:bodyPr>
          <a:lstStyle/>
          <a:p>
            <a:r>
              <a:rPr lang="en-CH" dirty="0" err="1"/>
              <a:t>GARDP’s</a:t>
            </a:r>
            <a:r>
              <a:rPr lang="en-CH" dirty="0"/>
              <a:t> contribution to the ecosystem for antibiotic development and access (2/2)</a:t>
            </a:r>
            <a:endParaRPr lang="en-US" dirty="0"/>
          </a:p>
        </p:txBody>
      </p:sp>
      <p:sp>
        <p:nvSpPr>
          <p:cNvPr id="3" name="Text Placeholder 2">
            <a:extLst>
              <a:ext uri="{FF2B5EF4-FFF2-40B4-BE49-F238E27FC236}">
                <a16:creationId xmlns:a16="http://schemas.microsoft.com/office/drawing/2014/main" id="{6C57D4B6-A9A5-3C2D-3B31-721C5CF4343D}"/>
              </a:ext>
            </a:extLst>
          </p:cNvPr>
          <p:cNvSpPr>
            <a:spLocks noGrp="1"/>
          </p:cNvSpPr>
          <p:nvPr>
            <p:ph type="body" idx="1"/>
          </p:nvPr>
        </p:nvSpPr>
        <p:spPr>
          <a:xfrm>
            <a:off x="495299" y="1631576"/>
            <a:ext cx="11206162" cy="4993341"/>
          </a:xfrm>
        </p:spPr>
        <p:txBody>
          <a:bodyPr>
            <a:normAutofit fontScale="92500" lnSpcReduction="20000"/>
          </a:bodyPr>
          <a:lstStyle/>
          <a:p>
            <a:r>
              <a:rPr lang="fr-FR" sz="2400" dirty="0" err="1">
                <a:solidFill>
                  <a:srgbClr val="000000"/>
                </a:solidFill>
                <a:effectLst/>
                <a:latin typeface="Arial" panose="020B0604020202020204" pitchFamily="34" charset="0"/>
              </a:rPr>
              <a:t>Definition</a:t>
            </a:r>
            <a:r>
              <a:rPr lang="fr-FR" sz="2400" dirty="0">
                <a:solidFill>
                  <a:srgbClr val="000000"/>
                </a:solidFill>
                <a:effectLst/>
                <a:latin typeface="Arial" panose="020B0604020202020204" pitchFamily="34" charset="0"/>
              </a:rPr>
              <a:t> du marché (</a:t>
            </a:r>
            <a:r>
              <a:rPr lang="es-ES" dirty="0">
                <a:solidFill>
                  <a:srgbClr val="000000"/>
                </a:solidFill>
                <a:latin typeface="Arial" panose="020B0604020202020204" pitchFamily="34" charset="0"/>
              </a:rPr>
              <a:t>“</a:t>
            </a:r>
            <a:r>
              <a:rPr lang="fr-FR" sz="2400" dirty="0" err="1">
                <a:solidFill>
                  <a:srgbClr val="000000"/>
                </a:solidFill>
                <a:effectLst/>
                <a:latin typeface="Arial" panose="020B0604020202020204" pitchFamily="34" charset="0"/>
              </a:rPr>
              <a:t>market</a:t>
            </a:r>
            <a:r>
              <a:rPr lang="fr-FR" sz="2400" dirty="0">
                <a:solidFill>
                  <a:srgbClr val="000000"/>
                </a:solidFill>
                <a:effectLst/>
                <a:latin typeface="Arial" panose="020B0604020202020204" pitchFamily="34" charset="0"/>
              </a:rPr>
              <a:t> </a:t>
            </a:r>
            <a:r>
              <a:rPr lang="fr-FR" sz="2400" dirty="0" err="1">
                <a:solidFill>
                  <a:srgbClr val="000000"/>
                </a:solidFill>
                <a:effectLst/>
                <a:latin typeface="Arial" panose="020B0604020202020204" pitchFamily="34" charset="0"/>
              </a:rPr>
              <a:t>shaping</a:t>
            </a:r>
            <a:r>
              <a:rPr lang="es-ES" dirty="0">
                <a:solidFill>
                  <a:srgbClr val="000000"/>
                </a:solidFill>
                <a:latin typeface="Arial" panose="020B0604020202020204" pitchFamily="34" charset="0"/>
              </a:rPr>
              <a:t>”</a:t>
            </a:r>
            <a:r>
              <a:rPr lang="fr-FR" sz="2400" dirty="0">
                <a:solidFill>
                  <a:srgbClr val="000000"/>
                </a:solidFill>
                <a:effectLst/>
                <a:latin typeface="Arial" panose="020B0604020202020204" pitchFamily="34" charset="0"/>
              </a:rPr>
              <a:t>) pour accélérer l'entrée du produit</a:t>
            </a:r>
          </a:p>
          <a:p>
            <a:pPr marL="576072" indent="-347472" algn="l" rtl="0">
              <a:lnSpc>
                <a:spcPct val="90000"/>
              </a:lnSpc>
              <a:spcBef>
                <a:spcPts val="1000"/>
              </a:spcBef>
              <a:buFont typeface="Arial" panose="020B0604020202020204" pitchFamily="34" charset="0"/>
              <a:buChar char="•"/>
            </a:pPr>
            <a:r>
              <a:rPr lang="fr-FR" sz="2400" dirty="0">
                <a:solidFill>
                  <a:srgbClr val="18A1AB"/>
                </a:solidFill>
                <a:effectLst/>
                <a:latin typeface="Arial" panose="020B0604020202020204" pitchFamily="34" charset="0"/>
              </a:rPr>
              <a:t>Soutenir le développement d'une demande appropriée : Collaborer avec les principaux acheteurs (publics et privés) pour créer des prévisions précoces et solides, consolider les prévisions et modéliser l'adoption dans le temps</a:t>
            </a:r>
          </a:p>
          <a:p>
            <a:pPr marL="576072" indent="-347472" algn="l" rtl="0">
              <a:lnSpc>
                <a:spcPct val="90000"/>
              </a:lnSpc>
              <a:spcBef>
                <a:spcPts val="1000"/>
              </a:spcBef>
              <a:buFont typeface="Arial" panose="020B0604020202020204" pitchFamily="34" charset="0"/>
              <a:buChar char="•"/>
            </a:pPr>
            <a:r>
              <a:rPr lang="fr-FR" sz="2400" dirty="0">
                <a:solidFill>
                  <a:srgbClr val="18A1AB"/>
                </a:solidFill>
                <a:effectLst/>
                <a:latin typeface="Arial" panose="020B0604020202020204" pitchFamily="34" charset="0"/>
              </a:rPr>
              <a:t>Travailler avec des partenaires sur des garanties de volume ou d'autres soutiens à l'entrée sur le marché</a:t>
            </a:r>
          </a:p>
          <a:p>
            <a:pPr marL="457200" indent="-228600" algn="l" rtl="0">
              <a:lnSpc>
                <a:spcPct val="90000"/>
              </a:lnSpc>
              <a:spcBef>
                <a:spcPts val="1000"/>
              </a:spcBef>
              <a:buNone/>
            </a:pPr>
            <a:r>
              <a:rPr lang="fr-FR" sz="2400" dirty="0">
                <a:solidFill>
                  <a:srgbClr val="000000"/>
                </a:solidFill>
                <a:effectLst/>
                <a:latin typeface="Arial" panose="020B0604020202020204" pitchFamily="34" charset="0"/>
              </a:rPr>
              <a:t>Soutien réglementaire</a:t>
            </a:r>
          </a:p>
          <a:p>
            <a:pPr marL="576072" indent="-347472" algn="l" rtl="0">
              <a:lnSpc>
                <a:spcPct val="90000"/>
              </a:lnSpc>
              <a:spcBef>
                <a:spcPts val="1000"/>
              </a:spcBef>
              <a:buFont typeface="Arial" panose="020B0604020202020204" pitchFamily="34" charset="0"/>
              <a:buChar char="•"/>
            </a:pPr>
            <a:r>
              <a:rPr lang="fr-FR" sz="2400" dirty="0">
                <a:solidFill>
                  <a:srgbClr val="18A1AB"/>
                </a:solidFill>
                <a:effectLst/>
                <a:latin typeface="Arial" panose="020B0604020202020204" pitchFamily="34" charset="0"/>
              </a:rPr>
              <a:t>Soutien au développement de la stratégie réglementaire, y compris les schémas d'harmonisation réglementaire régionale</a:t>
            </a:r>
          </a:p>
          <a:p>
            <a:pPr marL="576072" indent="-347472" algn="l" rtl="0">
              <a:lnSpc>
                <a:spcPct val="90000"/>
              </a:lnSpc>
              <a:spcBef>
                <a:spcPts val="1000"/>
              </a:spcBef>
              <a:buFont typeface="Arial" panose="020B0604020202020204" pitchFamily="34" charset="0"/>
              <a:buChar char="•"/>
            </a:pPr>
            <a:r>
              <a:rPr lang="fr-FR" sz="2400" dirty="0">
                <a:solidFill>
                  <a:srgbClr val="18A1AB"/>
                </a:solidFill>
                <a:effectLst/>
                <a:latin typeface="Arial" panose="020B0604020202020204" pitchFamily="34" charset="0"/>
              </a:rPr>
              <a:t>Collaborer avec l'OMS PQ pour tirer parti du CRP afin de rationaliser et accélérer l'enregistrement large</a:t>
            </a:r>
          </a:p>
          <a:p>
            <a:pPr marL="457200" indent="-228600" algn="l" rtl="0">
              <a:lnSpc>
                <a:spcPct val="90000"/>
              </a:lnSpc>
              <a:spcBef>
                <a:spcPts val="1000"/>
              </a:spcBef>
              <a:buNone/>
            </a:pPr>
            <a:r>
              <a:rPr lang="fr-FR" sz="2400" dirty="0">
                <a:solidFill>
                  <a:srgbClr val="000000"/>
                </a:solidFill>
                <a:effectLst/>
                <a:latin typeface="Arial" panose="020B0604020202020204" pitchFamily="34" charset="0"/>
              </a:rPr>
              <a:t>Approvisionnement et livraison efficaces</a:t>
            </a:r>
          </a:p>
          <a:p>
            <a:pPr marL="576072" indent="-347472" algn="l" rtl="0">
              <a:lnSpc>
                <a:spcPct val="90000"/>
              </a:lnSpc>
              <a:spcBef>
                <a:spcPts val="1000"/>
              </a:spcBef>
              <a:buFont typeface="Arial" panose="020B0604020202020204" pitchFamily="34" charset="0"/>
              <a:buChar char="•"/>
            </a:pPr>
            <a:r>
              <a:rPr lang="fr-FR" sz="2400" dirty="0">
                <a:solidFill>
                  <a:srgbClr val="18A1AB"/>
                </a:solidFill>
                <a:effectLst/>
                <a:latin typeface="Arial" panose="020B0604020202020204" pitchFamily="34" charset="0"/>
              </a:rPr>
              <a:t>Approvisionnement groupé ou coordonné avec des partenaires tels </a:t>
            </a:r>
            <a:r>
              <a:rPr lang="fr-FR" sz="2400">
                <a:solidFill>
                  <a:srgbClr val="18A1AB"/>
                </a:solidFill>
                <a:effectLst/>
                <a:latin typeface="Arial" panose="020B0604020202020204" pitchFamily="34" charset="0"/>
              </a:rPr>
              <a:t>que PAHO </a:t>
            </a:r>
            <a:r>
              <a:rPr lang="fr-FR" sz="2400" dirty="0">
                <a:solidFill>
                  <a:srgbClr val="18A1AB"/>
                </a:solidFill>
                <a:effectLst/>
                <a:latin typeface="Arial" panose="020B0604020202020204" pitchFamily="34" charset="0"/>
              </a:rPr>
              <a:t>SF</a:t>
            </a:r>
          </a:p>
          <a:p>
            <a:pPr marL="576072" indent="-347472" algn="l" rtl="0">
              <a:lnSpc>
                <a:spcPct val="90000"/>
              </a:lnSpc>
              <a:spcBef>
                <a:spcPts val="1000"/>
              </a:spcBef>
              <a:buFont typeface="Arial" panose="020B0604020202020204" pitchFamily="34" charset="0"/>
              <a:buChar char="•"/>
            </a:pPr>
            <a:r>
              <a:rPr lang="fr-FR" sz="2400" dirty="0">
                <a:solidFill>
                  <a:srgbClr val="18A1AB"/>
                </a:solidFill>
                <a:effectLst/>
                <a:latin typeface="Arial" panose="020B0604020202020204" pitchFamily="34" charset="0"/>
              </a:rPr>
              <a:t>Soutien pour les licences d'importation avant l'enregistrement complet afin d'accélérer l'adoption</a:t>
            </a:r>
            <a:endParaRPr lang="en-US" dirty="0"/>
          </a:p>
        </p:txBody>
      </p:sp>
    </p:spTree>
    <p:extLst>
      <p:ext uri="{BB962C8B-B14F-4D97-AF65-F5344CB8AC3E}">
        <p14:creationId xmlns:p14="http://schemas.microsoft.com/office/powerpoint/2010/main" val="24094901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ounded Rectangle 1">
            <a:extLst>
              <a:ext uri="{FF2B5EF4-FFF2-40B4-BE49-F238E27FC236}">
                <a16:creationId xmlns:a16="http://schemas.microsoft.com/office/drawing/2014/main" id="{5CBC15FB-D93D-F8FF-4C00-F8AD5AC9AB77}"/>
              </a:ext>
            </a:extLst>
          </p:cNvPr>
          <p:cNvSpPr/>
          <p:nvPr/>
        </p:nvSpPr>
        <p:spPr>
          <a:xfrm>
            <a:off x="505219" y="3786617"/>
            <a:ext cx="2740000" cy="2925501"/>
          </a:xfrm>
          <a:prstGeom prst="roundRect">
            <a:avLst>
              <a:gd name="adj" fmla="val 5193"/>
            </a:avLst>
          </a:prstGeom>
          <a:solidFill>
            <a:schemeClr val="accent5">
              <a:alpha val="2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ounded Rectangle 1">
            <a:extLst>
              <a:ext uri="{FF2B5EF4-FFF2-40B4-BE49-F238E27FC236}">
                <a16:creationId xmlns:a16="http://schemas.microsoft.com/office/drawing/2014/main" id="{C06F9C13-FEEF-3BA4-11FE-56B3BD594B79}"/>
              </a:ext>
            </a:extLst>
          </p:cNvPr>
          <p:cNvSpPr/>
          <p:nvPr/>
        </p:nvSpPr>
        <p:spPr>
          <a:xfrm>
            <a:off x="3296307" y="3786617"/>
            <a:ext cx="2740000" cy="2925501"/>
          </a:xfrm>
          <a:prstGeom prst="roundRect">
            <a:avLst>
              <a:gd name="adj" fmla="val 5193"/>
            </a:avLst>
          </a:prstGeom>
          <a:solidFill>
            <a:schemeClr val="accent5">
              <a:alpha val="2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ounded Rectangle 1">
            <a:extLst>
              <a:ext uri="{FF2B5EF4-FFF2-40B4-BE49-F238E27FC236}">
                <a16:creationId xmlns:a16="http://schemas.microsoft.com/office/drawing/2014/main" id="{B5168ACC-4062-95F3-E4B2-2C40A3838DD9}"/>
              </a:ext>
            </a:extLst>
          </p:cNvPr>
          <p:cNvSpPr/>
          <p:nvPr/>
        </p:nvSpPr>
        <p:spPr>
          <a:xfrm>
            <a:off x="6098867" y="3786617"/>
            <a:ext cx="2740000" cy="2925501"/>
          </a:xfrm>
          <a:prstGeom prst="roundRect">
            <a:avLst>
              <a:gd name="adj" fmla="val 5193"/>
            </a:avLst>
          </a:prstGeom>
          <a:solidFill>
            <a:schemeClr val="accent5">
              <a:alpha val="2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ounded Rectangle 1">
            <a:extLst>
              <a:ext uri="{FF2B5EF4-FFF2-40B4-BE49-F238E27FC236}">
                <a16:creationId xmlns:a16="http://schemas.microsoft.com/office/drawing/2014/main" id="{B1622B9D-FA1F-1859-1F58-591314F451D2}"/>
              </a:ext>
            </a:extLst>
          </p:cNvPr>
          <p:cNvSpPr/>
          <p:nvPr/>
        </p:nvSpPr>
        <p:spPr>
          <a:xfrm>
            <a:off x="8881543" y="3786617"/>
            <a:ext cx="2740000" cy="2925501"/>
          </a:xfrm>
          <a:prstGeom prst="roundRect">
            <a:avLst>
              <a:gd name="adj" fmla="val 5193"/>
            </a:avLst>
          </a:prstGeom>
          <a:solidFill>
            <a:schemeClr val="accent5">
              <a:alpha val="2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Oval 41">
            <a:extLst>
              <a:ext uri="{FF2B5EF4-FFF2-40B4-BE49-F238E27FC236}">
                <a16:creationId xmlns:a16="http://schemas.microsoft.com/office/drawing/2014/main" id="{424BDA31-3779-6C4C-1722-55FF71C79301}"/>
              </a:ext>
            </a:extLst>
          </p:cNvPr>
          <p:cNvSpPr/>
          <p:nvPr/>
        </p:nvSpPr>
        <p:spPr>
          <a:xfrm>
            <a:off x="6484125" y="2691831"/>
            <a:ext cx="1998341" cy="1998341"/>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 Placeholder 6">
            <a:extLst>
              <a:ext uri="{FF2B5EF4-FFF2-40B4-BE49-F238E27FC236}">
                <a16:creationId xmlns:a16="http://schemas.microsoft.com/office/drawing/2014/main" id="{26383AC2-AE9E-2B59-61DC-AF23C7087982}"/>
              </a:ext>
            </a:extLst>
          </p:cNvPr>
          <p:cNvSpPr>
            <a:spLocks noGrp="1"/>
          </p:cNvSpPr>
          <p:nvPr>
            <p:ph type="body" sz="quarter" idx="12"/>
          </p:nvPr>
        </p:nvSpPr>
        <p:spPr>
          <a:xfrm>
            <a:off x="543674" y="4977309"/>
            <a:ext cx="2663091" cy="551948"/>
          </a:xfrm>
        </p:spPr>
        <p:txBody>
          <a:bodyPr/>
          <a:lstStyle/>
          <a:p>
            <a:r>
              <a:rPr lang="en-GB"/>
              <a:t>Fabrication</a:t>
            </a:r>
          </a:p>
        </p:txBody>
      </p:sp>
      <p:sp>
        <p:nvSpPr>
          <p:cNvPr id="5" name="Title 4">
            <a:extLst>
              <a:ext uri="{FF2B5EF4-FFF2-40B4-BE49-F238E27FC236}">
                <a16:creationId xmlns:a16="http://schemas.microsoft.com/office/drawing/2014/main" id="{1F0059A4-A22A-0F90-DA9D-36B00A4D1ABD}"/>
              </a:ext>
            </a:extLst>
          </p:cNvPr>
          <p:cNvSpPr>
            <a:spLocks noGrp="1"/>
          </p:cNvSpPr>
          <p:nvPr>
            <p:ph type="title"/>
          </p:nvPr>
        </p:nvSpPr>
        <p:spPr>
          <a:xfrm>
            <a:off x="606580" y="443114"/>
            <a:ext cx="10048719" cy="968997"/>
          </a:xfrm>
        </p:spPr>
        <p:txBody>
          <a:bodyPr/>
          <a:lstStyle/>
          <a:p>
            <a:r>
              <a:rPr lang="en-CH" sz="3200" dirty="0"/>
              <a:t>Étude de cas : </a:t>
            </a:r>
            <a:r>
              <a:rPr lang="en-CH" sz="3200" dirty="0" err="1"/>
              <a:t>Cefiderocol</a:t>
            </a:r>
            <a:endParaRPr lang="en-RO" sz="3200" dirty="0"/>
          </a:p>
        </p:txBody>
      </p:sp>
      <p:sp>
        <p:nvSpPr>
          <p:cNvPr id="12" name="Text Placeholder 11">
            <a:extLst>
              <a:ext uri="{FF2B5EF4-FFF2-40B4-BE49-F238E27FC236}">
                <a16:creationId xmlns:a16="http://schemas.microsoft.com/office/drawing/2014/main" id="{90D26C74-F0AD-801A-573A-1DA925BCDDA7}"/>
              </a:ext>
            </a:extLst>
          </p:cNvPr>
          <p:cNvSpPr>
            <a:spLocks noGrp="1"/>
          </p:cNvSpPr>
          <p:nvPr>
            <p:ph type="body" sz="quarter" idx="17"/>
          </p:nvPr>
        </p:nvSpPr>
        <p:spPr>
          <a:xfrm>
            <a:off x="3327695" y="4977309"/>
            <a:ext cx="2677224" cy="551948"/>
          </a:xfrm>
        </p:spPr>
        <p:txBody>
          <a:bodyPr/>
          <a:lstStyle/>
          <a:p>
            <a:r>
              <a:rPr lang="en-GB"/>
              <a:t>Enregistrement</a:t>
            </a:r>
          </a:p>
        </p:txBody>
      </p:sp>
      <p:sp>
        <p:nvSpPr>
          <p:cNvPr id="13" name="Text Placeholder 12">
            <a:extLst>
              <a:ext uri="{FF2B5EF4-FFF2-40B4-BE49-F238E27FC236}">
                <a16:creationId xmlns:a16="http://schemas.microsoft.com/office/drawing/2014/main" id="{10FE29F6-99C6-2FA0-ACFA-8D3079659279}"/>
              </a:ext>
            </a:extLst>
          </p:cNvPr>
          <p:cNvSpPr>
            <a:spLocks noGrp="1"/>
          </p:cNvSpPr>
          <p:nvPr>
            <p:ph type="body" sz="quarter" idx="18"/>
          </p:nvPr>
        </p:nvSpPr>
        <p:spPr>
          <a:xfrm>
            <a:off x="6130255" y="4977309"/>
            <a:ext cx="2677224" cy="551948"/>
          </a:xfrm>
        </p:spPr>
        <p:txBody>
          <a:bodyPr/>
          <a:lstStyle/>
          <a:p>
            <a:pPr>
              <a:spcBef>
                <a:spcPts val="0"/>
              </a:spcBef>
            </a:pPr>
            <a:r>
              <a:rPr lang="en-CH" dirty="0"/>
              <a:t>Définition du marché</a:t>
            </a:r>
            <a:endParaRPr lang="es-ES" dirty="0"/>
          </a:p>
          <a:p>
            <a:pPr>
              <a:spcBef>
                <a:spcPts val="0"/>
              </a:spcBef>
            </a:pPr>
            <a:r>
              <a:rPr lang="es-ES" dirty="0"/>
              <a:t>(“</a:t>
            </a:r>
            <a:r>
              <a:rPr lang="es-ES" dirty="0" err="1"/>
              <a:t>market</a:t>
            </a:r>
            <a:r>
              <a:rPr lang="es-ES" dirty="0"/>
              <a:t> </a:t>
            </a:r>
            <a:r>
              <a:rPr lang="es-ES" dirty="0" err="1"/>
              <a:t>shaping</a:t>
            </a:r>
            <a:r>
              <a:rPr lang="es-ES" dirty="0"/>
              <a:t>”)</a:t>
            </a:r>
            <a:endParaRPr lang="en-GB" dirty="0"/>
          </a:p>
        </p:txBody>
      </p:sp>
      <p:sp>
        <p:nvSpPr>
          <p:cNvPr id="14" name="Text Placeholder 13">
            <a:extLst>
              <a:ext uri="{FF2B5EF4-FFF2-40B4-BE49-F238E27FC236}">
                <a16:creationId xmlns:a16="http://schemas.microsoft.com/office/drawing/2014/main" id="{A7D97713-4034-FB58-970C-FAACA2DBA9D7}"/>
              </a:ext>
            </a:extLst>
          </p:cNvPr>
          <p:cNvSpPr>
            <a:spLocks noGrp="1"/>
          </p:cNvSpPr>
          <p:nvPr>
            <p:ph type="body" sz="quarter" idx="19"/>
          </p:nvPr>
        </p:nvSpPr>
        <p:spPr>
          <a:xfrm>
            <a:off x="8932638" y="4894578"/>
            <a:ext cx="2672802" cy="551948"/>
          </a:xfrm>
        </p:spPr>
        <p:txBody>
          <a:bodyPr/>
          <a:lstStyle/>
          <a:p>
            <a:r>
              <a:rPr lang="en-CH" dirty="0"/>
              <a:t>Preuves et mise en œuvre</a:t>
            </a:r>
            <a:endParaRPr lang="en-GB" dirty="0"/>
          </a:p>
        </p:txBody>
      </p:sp>
      <p:sp>
        <p:nvSpPr>
          <p:cNvPr id="15" name="Text Placeholder 14">
            <a:extLst>
              <a:ext uri="{FF2B5EF4-FFF2-40B4-BE49-F238E27FC236}">
                <a16:creationId xmlns:a16="http://schemas.microsoft.com/office/drawing/2014/main" id="{80986579-7723-3BDC-A2E4-22F7161D52C3}"/>
              </a:ext>
            </a:extLst>
          </p:cNvPr>
          <p:cNvSpPr>
            <a:spLocks noGrp="1"/>
          </p:cNvSpPr>
          <p:nvPr>
            <p:ph type="body" sz="quarter" idx="20"/>
          </p:nvPr>
        </p:nvSpPr>
        <p:spPr>
          <a:xfrm>
            <a:off x="543674" y="5417811"/>
            <a:ext cx="2663091" cy="551948"/>
          </a:xfrm>
        </p:spPr>
        <p:txBody>
          <a:bodyPr/>
          <a:lstStyle/>
          <a:p>
            <a:r>
              <a:rPr lang="en-US" dirty="0"/>
              <a:t>Produits abordables et de qualité garantie provenant d'un fabricant agréé</a:t>
            </a:r>
            <a:endParaRPr lang="en-RO" dirty="0"/>
          </a:p>
        </p:txBody>
      </p:sp>
      <p:sp>
        <p:nvSpPr>
          <p:cNvPr id="16" name="Text Placeholder 15">
            <a:extLst>
              <a:ext uri="{FF2B5EF4-FFF2-40B4-BE49-F238E27FC236}">
                <a16:creationId xmlns:a16="http://schemas.microsoft.com/office/drawing/2014/main" id="{F07728A4-BFBF-8FC3-4F2C-4D6D22E91550}"/>
              </a:ext>
            </a:extLst>
          </p:cNvPr>
          <p:cNvSpPr>
            <a:spLocks noGrp="1"/>
          </p:cNvSpPr>
          <p:nvPr>
            <p:ph type="body" sz="quarter" idx="21"/>
          </p:nvPr>
        </p:nvSpPr>
        <p:spPr>
          <a:xfrm>
            <a:off x="3327695" y="5417811"/>
            <a:ext cx="2677224" cy="551948"/>
          </a:xfrm>
        </p:spPr>
        <p:txBody>
          <a:bodyPr/>
          <a:lstStyle/>
          <a:p>
            <a:r>
              <a:rPr lang="en-US"/>
              <a:t>Soutien à la commercialisation dans les pays fortement touchés</a:t>
            </a:r>
            <a:endParaRPr lang="en-RO"/>
          </a:p>
        </p:txBody>
      </p:sp>
      <p:sp>
        <p:nvSpPr>
          <p:cNvPr id="17" name="Text Placeholder 16">
            <a:extLst>
              <a:ext uri="{FF2B5EF4-FFF2-40B4-BE49-F238E27FC236}">
                <a16:creationId xmlns:a16="http://schemas.microsoft.com/office/drawing/2014/main" id="{4910D972-A457-7AD9-3C1D-893488D76AA5}"/>
              </a:ext>
            </a:extLst>
          </p:cNvPr>
          <p:cNvSpPr>
            <a:spLocks noGrp="1"/>
          </p:cNvSpPr>
          <p:nvPr>
            <p:ph type="body" sz="quarter" idx="22"/>
          </p:nvPr>
        </p:nvSpPr>
        <p:spPr>
          <a:xfrm>
            <a:off x="6130255" y="5417811"/>
            <a:ext cx="2677224" cy="551948"/>
          </a:xfrm>
        </p:spPr>
        <p:txBody>
          <a:bodyPr/>
          <a:lstStyle/>
          <a:p>
            <a:endParaRPr lang="es-ES" dirty="0"/>
          </a:p>
          <a:p>
            <a:r>
              <a:rPr lang="en-RO" dirty="0"/>
              <a:t>Accroître la transparence, améliorer l'efficacité et réduire les risques liés au marché</a:t>
            </a:r>
          </a:p>
        </p:txBody>
      </p:sp>
      <p:sp>
        <p:nvSpPr>
          <p:cNvPr id="18" name="Text Placeholder 17">
            <a:extLst>
              <a:ext uri="{FF2B5EF4-FFF2-40B4-BE49-F238E27FC236}">
                <a16:creationId xmlns:a16="http://schemas.microsoft.com/office/drawing/2014/main" id="{C90CF289-CED3-3C4B-F698-4DED59A72DE7}"/>
              </a:ext>
            </a:extLst>
          </p:cNvPr>
          <p:cNvSpPr>
            <a:spLocks noGrp="1"/>
          </p:cNvSpPr>
          <p:nvPr>
            <p:ph type="body" sz="quarter" idx="23"/>
          </p:nvPr>
        </p:nvSpPr>
        <p:spPr>
          <a:xfrm>
            <a:off x="8901427" y="5417811"/>
            <a:ext cx="2672802" cy="551948"/>
          </a:xfrm>
        </p:spPr>
        <p:txBody>
          <a:bodyPr/>
          <a:lstStyle/>
          <a:p>
            <a:r>
              <a:rPr lang="en-CH" sz="1400" dirty="0"/>
              <a:t>Développer des </a:t>
            </a:r>
            <a:r>
              <a:rPr lang="es-ES" sz="1400" dirty="0" err="1"/>
              <a:t>donées</a:t>
            </a:r>
            <a:r>
              <a:rPr lang="en-CH" sz="1400" dirty="0"/>
              <a:t> pour </a:t>
            </a:r>
            <a:r>
              <a:rPr lang="en-US" sz="1400" dirty="0"/>
              <a:t>une utilisation appropriée</a:t>
            </a:r>
            <a:endParaRPr lang="en-CH" sz="1400" dirty="0"/>
          </a:p>
          <a:p>
            <a:r>
              <a:rPr lang="en-US" sz="1400" dirty="0"/>
              <a:t>Partenariats pour co-développer et mettre en place des plans de mise en œuvre solides</a:t>
            </a:r>
            <a:endParaRPr lang="en-RO" sz="1400" dirty="0"/>
          </a:p>
          <a:p>
            <a:endParaRPr lang="en-RO" sz="1400" dirty="0"/>
          </a:p>
        </p:txBody>
      </p:sp>
      <p:grpSp>
        <p:nvGrpSpPr>
          <p:cNvPr id="2" name="Group 1">
            <a:extLst>
              <a:ext uri="{FF2B5EF4-FFF2-40B4-BE49-F238E27FC236}">
                <a16:creationId xmlns:a16="http://schemas.microsoft.com/office/drawing/2014/main" id="{47F266AB-4EC7-BA72-E34F-8C653112365F}"/>
              </a:ext>
            </a:extLst>
          </p:cNvPr>
          <p:cNvGrpSpPr/>
          <p:nvPr/>
        </p:nvGrpSpPr>
        <p:grpSpPr>
          <a:xfrm>
            <a:off x="6972763" y="3178613"/>
            <a:ext cx="992208" cy="1024776"/>
            <a:chOff x="14360251" y="3732881"/>
            <a:chExt cx="441755" cy="456253"/>
          </a:xfrm>
          <a:solidFill>
            <a:schemeClr val="bg1"/>
          </a:solidFill>
        </p:grpSpPr>
        <p:sp>
          <p:nvSpPr>
            <p:cNvPr id="3" name="Freeform 54">
              <a:extLst>
                <a:ext uri="{FF2B5EF4-FFF2-40B4-BE49-F238E27FC236}">
                  <a16:creationId xmlns:a16="http://schemas.microsoft.com/office/drawing/2014/main" id="{E7E38467-87D1-9DF1-DB0E-43619F42C064}"/>
                </a:ext>
              </a:extLst>
            </p:cNvPr>
            <p:cNvSpPr>
              <a:spLocks noEditPoints="1"/>
            </p:cNvSpPr>
            <p:nvPr/>
          </p:nvSpPr>
          <p:spPr bwMode="auto">
            <a:xfrm>
              <a:off x="14404787" y="3991466"/>
              <a:ext cx="213053" cy="60917"/>
            </a:xfrm>
            <a:custGeom>
              <a:avLst/>
              <a:gdLst>
                <a:gd name="T0" fmla="*/ 409 w 792"/>
                <a:gd name="T1" fmla="*/ 164 h 219"/>
                <a:gd name="T2" fmla="*/ 364 w 792"/>
                <a:gd name="T3" fmla="*/ 123 h 219"/>
                <a:gd name="T4" fmla="*/ 136 w 792"/>
                <a:gd name="T5" fmla="*/ 0 h 219"/>
                <a:gd name="T6" fmla="*/ 0 w 792"/>
                <a:gd name="T7" fmla="*/ 55 h 219"/>
                <a:gd name="T8" fmla="*/ 27 w 792"/>
                <a:gd name="T9" fmla="*/ 82 h 219"/>
                <a:gd name="T10" fmla="*/ 52 w 792"/>
                <a:gd name="T11" fmla="*/ 66 h 219"/>
                <a:gd name="T12" fmla="*/ 136 w 792"/>
                <a:gd name="T13" fmla="*/ 55 h 219"/>
                <a:gd name="T14" fmla="*/ 324 w 792"/>
                <a:gd name="T15" fmla="*/ 160 h 219"/>
                <a:gd name="T16" fmla="*/ 409 w 792"/>
                <a:gd name="T17" fmla="*/ 219 h 219"/>
                <a:gd name="T18" fmla="*/ 764 w 792"/>
                <a:gd name="T19" fmla="*/ 219 h 219"/>
                <a:gd name="T20" fmla="*/ 792 w 792"/>
                <a:gd name="T21" fmla="*/ 192 h 219"/>
                <a:gd name="T22" fmla="*/ 764 w 792"/>
                <a:gd name="T23" fmla="*/ 164 h 219"/>
                <a:gd name="T24" fmla="*/ 409 w 792"/>
                <a:gd name="T25" fmla="*/ 164 h 219"/>
                <a:gd name="T26" fmla="*/ 409 w 792"/>
                <a:gd name="T27" fmla="*/ 164 h 219"/>
                <a:gd name="T28" fmla="*/ 409 w 792"/>
                <a:gd name="T29" fmla="*/ 16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2" h="219">
                  <a:moveTo>
                    <a:pt x="409" y="164"/>
                  </a:moveTo>
                  <a:cubicBezTo>
                    <a:pt x="402" y="164"/>
                    <a:pt x="379" y="140"/>
                    <a:pt x="364" y="123"/>
                  </a:cubicBezTo>
                  <a:cubicBezTo>
                    <a:pt x="320" y="74"/>
                    <a:pt x="252" y="0"/>
                    <a:pt x="136" y="0"/>
                  </a:cubicBezTo>
                  <a:cubicBezTo>
                    <a:pt x="24" y="0"/>
                    <a:pt x="0" y="30"/>
                    <a:pt x="0" y="55"/>
                  </a:cubicBezTo>
                  <a:cubicBezTo>
                    <a:pt x="0" y="70"/>
                    <a:pt x="12" y="82"/>
                    <a:pt x="27" y="82"/>
                  </a:cubicBezTo>
                  <a:cubicBezTo>
                    <a:pt x="38" y="82"/>
                    <a:pt x="48" y="76"/>
                    <a:pt x="52" y="66"/>
                  </a:cubicBezTo>
                  <a:cubicBezTo>
                    <a:pt x="57" y="63"/>
                    <a:pt x="78" y="55"/>
                    <a:pt x="136" y="55"/>
                  </a:cubicBezTo>
                  <a:cubicBezTo>
                    <a:pt x="228" y="55"/>
                    <a:pt x="281" y="113"/>
                    <a:pt x="324" y="160"/>
                  </a:cubicBezTo>
                  <a:cubicBezTo>
                    <a:pt x="354" y="193"/>
                    <a:pt x="377" y="219"/>
                    <a:pt x="409" y="219"/>
                  </a:cubicBezTo>
                  <a:cubicBezTo>
                    <a:pt x="764" y="219"/>
                    <a:pt x="764" y="219"/>
                    <a:pt x="764" y="219"/>
                  </a:cubicBezTo>
                  <a:cubicBezTo>
                    <a:pt x="780" y="219"/>
                    <a:pt x="792" y="207"/>
                    <a:pt x="792" y="192"/>
                  </a:cubicBezTo>
                  <a:cubicBezTo>
                    <a:pt x="792" y="177"/>
                    <a:pt x="780" y="164"/>
                    <a:pt x="764" y="164"/>
                  </a:cubicBezTo>
                  <a:lnTo>
                    <a:pt x="409" y="164"/>
                  </a:lnTo>
                  <a:close/>
                  <a:moveTo>
                    <a:pt x="409" y="164"/>
                  </a:moveTo>
                  <a:cubicBezTo>
                    <a:pt x="409" y="164"/>
                    <a:pt x="409" y="164"/>
                    <a:pt x="409" y="164"/>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o-RO"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 name="Freeform 55">
              <a:extLst>
                <a:ext uri="{FF2B5EF4-FFF2-40B4-BE49-F238E27FC236}">
                  <a16:creationId xmlns:a16="http://schemas.microsoft.com/office/drawing/2014/main" id="{10715A64-2230-A92B-9EC8-48059DF18871}"/>
                </a:ext>
              </a:extLst>
            </p:cNvPr>
            <p:cNvSpPr>
              <a:spLocks noEditPoints="1"/>
            </p:cNvSpPr>
            <p:nvPr/>
          </p:nvSpPr>
          <p:spPr bwMode="auto">
            <a:xfrm>
              <a:off x="14492657" y="3778880"/>
              <a:ext cx="58981" cy="220046"/>
            </a:xfrm>
            <a:custGeom>
              <a:avLst/>
              <a:gdLst>
                <a:gd name="T0" fmla="*/ 152 w 218"/>
                <a:gd name="T1" fmla="*/ 52 h 792"/>
                <a:gd name="T2" fmla="*/ 163 w 218"/>
                <a:gd name="T3" fmla="*/ 136 h 792"/>
                <a:gd name="T4" fmla="*/ 58 w 218"/>
                <a:gd name="T5" fmla="*/ 324 h 792"/>
                <a:gd name="T6" fmla="*/ 0 w 218"/>
                <a:gd name="T7" fmla="*/ 409 h 792"/>
                <a:gd name="T8" fmla="*/ 0 w 218"/>
                <a:gd name="T9" fmla="*/ 764 h 792"/>
                <a:gd name="T10" fmla="*/ 27 w 218"/>
                <a:gd name="T11" fmla="*/ 792 h 792"/>
                <a:gd name="T12" fmla="*/ 54 w 218"/>
                <a:gd name="T13" fmla="*/ 764 h 792"/>
                <a:gd name="T14" fmla="*/ 54 w 218"/>
                <a:gd name="T15" fmla="*/ 409 h 792"/>
                <a:gd name="T16" fmla="*/ 95 w 218"/>
                <a:gd name="T17" fmla="*/ 364 h 792"/>
                <a:gd name="T18" fmla="*/ 218 w 218"/>
                <a:gd name="T19" fmla="*/ 136 h 792"/>
                <a:gd name="T20" fmla="*/ 163 w 218"/>
                <a:gd name="T21" fmla="*/ 0 h 792"/>
                <a:gd name="T22" fmla="*/ 136 w 218"/>
                <a:gd name="T23" fmla="*/ 27 h 792"/>
                <a:gd name="T24" fmla="*/ 152 w 218"/>
                <a:gd name="T25" fmla="*/ 52 h 792"/>
                <a:gd name="T26" fmla="*/ 152 w 218"/>
                <a:gd name="T27" fmla="*/ 52 h 792"/>
                <a:gd name="T28" fmla="*/ 152 w 218"/>
                <a:gd name="T29" fmla="*/ 5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8" h="792">
                  <a:moveTo>
                    <a:pt x="152" y="52"/>
                  </a:moveTo>
                  <a:cubicBezTo>
                    <a:pt x="155" y="57"/>
                    <a:pt x="163" y="78"/>
                    <a:pt x="163" y="136"/>
                  </a:cubicBezTo>
                  <a:cubicBezTo>
                    <a:pt x="163" y="228"/>
                    <a:pt x="105" y="281"/>
                    <a:pt x="58" y="324"/>
                  </a:cubicBezTo>
                  <a:cubicBezTo>
                    <a:pt x="25" y="354"/>
                    <a:pt x="0" y="377"/>
                    <a:pt x="0" y="409"/>
                  </a:cubicBezTo>
                  <a:cubicBezTo>
                    <a:pt x="0" y="764"/>
                    <a:pt x="0" y="764"/>
                    <a:pt x="0" y="764"/>
                  </a:cubicBezTo>
                  <a:cubicBezTo>
                    <a:pt x="0" y="779"/>
                    <a:pt x="12" y="792"/>
                    <a:pt x="27" y="792"/>
                  </a:cubicBezTo>
                  <a:cubicBezTo>
                    <a:pt x="42" y="792"/>
                    <a:pt x="54" y="779"/>
                    <a:pt x="54" y="764"/>
                  </a:cubicBezTo>
                  <a:cubicBezTo>
                    <a:pt x="54" y="409"/>
                    <a:pt x="54" y="409"/>
                    <a:pt x="54" y="409"/>
                  </a:cubicBezTo>
                  <a:cubicBezTo>
                    <a:pt x="54" y="402"/>
                    <a:pt x="79" y="379"/>
                    <a:pt x="95" y="364"/>
                  </a:cubicBezTo>
                  <a:cubicBezTo>
                    <a:pt x="144" y="320"/>
                    <a:pt x="218" y="252"/>
                    <a:pt x="218" y="136"/>
                  </a:cubicBezTo>
                  <a:cubicBezTo>
                    <a:pt x="218" y="24"/>
                    <a:pt x="188" y="0"/>
                    <a:pt x="163" y="0"/>
                  </a:cubicBezTo>
                  <a:cubicBezTo>
                    <a:pt x="148" y="0"/>
                    <a:pt x="136" y="12"/>
                    <a:pt x="136" y="27"/>
                  </a:cubicBezTo>
                  <a:cubicBezTo>
                    <a:pt x="136" y="38"/>
                    <a:pt x="143" y="48"/>
                    <a:pt x="152" y="52"/>
                  </a:cubicBezTo>
                  <a:close/>
                  <a:moveTo>
                    <a:pt x="152" y="52"/>
                  </a:moveTo>
                  <a:cubicBezTo>
                    <a:pt x="152" y="52"/>
                    <a:pt x="152" y="52"/>
                    <a:pt x="152" y="5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o-RO"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 name="Freeform 56">
              <a:extLst>
                <a:ext uri="{FF2B5EF4-FFF2-40B4-BE49-F238E27FC236}">
                  <a16:creationId xmlns:a16="http://schemas.microsoft.com/office/drawing/2014/main" id="{E8D5D7EA-2D48-79C2-33AE-F8A00014A8E2}"/>
                </a:ext>
              </a:extLst>
            </p:cNvPr>
            <p:cNvSpPr>
              <a:spLocks noEditPoints="1"/>
            </p:cNvSpPr>
            <p:nvPr/>
          </p:nvSpPr>
          <p:spPr bwMode="auto">
            <a:xfrm>
              <a:off x="14360251" y="3732881"/>
              <a:ext cx="161295" cy="243666"/>
            </a:xfrm>
            <a:custGeom>
              <a:avLst/>
              <a:gdLst>
                <a:gd name="T0" fmla="*/ 0 w 601"/>
                <a:gd name="T1" fmla="*/ 519 h 874"/>
                <a:gd name="T2" fmla="*/ 27 w 601"/>
                <a:gd name="T3" fmla="*/ 546 h 874"/>
                <a:gd name="T4" fmla="*/ 160 w 601"/>
                <a:gd name="T5" fmla="*/ 546 h 874"/>
                <a:gd name="T6" fmla="*/ 164 w 601"/>
                <a:gd name="T7" fmla="*/ 573 h 874"/>
                <a:gd name="T8" fmla="*/ 164 w 601"/>
                <a:gd name="T9" fmla="*/ 846 h 874"/>
                <a:gd name="T10" fmla="*/ 191 w 601"/>
                <a:gd name="T11" fmla="*/ 874 h 874"/>
                <a:gd name="T12" fmla="*/ 218 w 601"/>
                <a:gd name="T13" fmla="*/ 846 h 874"/>
                <a:gd name="T14" fmla="*/ 218 w 601"/>
                <a:gd name="T15" fmla="*/ 573 h 874"/>
                <a:gd name="T16" fmla="*/ 194 w 601"/>
                <a:gd name="T17" fmla="*/ 466 h 874"/>
                <a:gd name="T18" fmla="*/ 164 w 601"/>
                <a:gd name="T19" fmla="*/ 328 h 874"/>
                <a:gd name="T20" fmla="*/ 164 w 601"/>
                <a:gd name="T21" fmla="*/ 82 h 874"/>
                <a:gd name="T22" fmla="*/ 191 w 601"/>
                <a:gd name="T23" fmla="*/ 55 h 874"/>
                <a:gd name="T24" fmla="*/ 218 w 601"/>
                <a:gd name="T25" fmla="*/ 82 h 874"/>
                <a:gd name="T26" fmla="*/ 246 w 601"/>
                <a:gd name="T27" fmla="*/ 109 h 874"/>
                <a:gd name="T28" fmla="*/ 273 w 601"/>
                <a:gd name="T29" fmla="*/ 82 h 874"/>
                <a:gd name="T30" fmla="*/ 300 w 601"/>
                <a:gd name="T31" fmla="*/ 55 h 874"/>
                <a:gd name="T32" fmla="*/ 328 w 601"/>
                <a:gd name="T33" fmla="*/ 82 h 874"/>
                <a:gd name="T34" fmla="*/ 355 w 601"/>
                <a:gd name="T35" fmla="*/ 109 h 874"/>
                <a:gd name="T36" fmla="*/ 382 w 601"/>
                <a:gd name="T37" fmla="*/ 82 h 874"/>
                <a:gd name="T38" fmla="*/ 410 w 601"/>
                <a:gd name="T39" fmla="*/ 55 h 874"/>
                <a:gd name="T40" fmla="*/ 437 w 601"/>
                <a:gd name="T41" fmla="*/ 82 h 874"/>
                <a:gd name="T42" fmla="*/ 464 w 601"/>
                <a:gd name="T43" fmla="*/ 109 h 874"/>
                <a:gd name="T44" fmla="*/ 492 w 601"/>
                <a:gd name="T45" fmla="*/ 82 h 874"/>
                <a:gd name="T46" fmla="*/ 519 w 601"/>
                <a:gd name="T47" fmla="*/ 55 h 874"/>
                <a:gd name="T48" fmla="*/ 546 w 601"/>
                <a:gd name="T49" fmla="*/ 82 h 874"/>
                <a:gd name="T50" fmla="*/ 546 w 601"/>
                <a:gd name="T51" fmla="*/ 300 h 874"/>
                <a:gd name="T52" fmla="*/ 573 w 601"/>
                <a:gd name="T53" fmla="*/ 328 h 874"/>
                <a:gd name="T54" fmla="*/ 601 w 601"/>
                <a:gd name="T55" fmla="*/ 300 h 874"/>
                <a:gd name="T56" fmla="*/ 601 w 601"/>
                <a:gd name="T57" fmla="*/ 82 h 874"/>
                <a:gd name="T58" fmla="*/ 519 w 601"/>
                <a:gd name="T59" fmla="*/ 0 h 874"/>
                <a:gd name="T60" fmla="*/ 464 w 601"/>
                <a:gd name="T61" fmla="*/ 21 h 874"/>
                <a:gd name="T62" fmla="*/ 410 w 601"/>
                <a:gd name="T63" fmla="*/ 0 h 874"/>
                <a:gd name="T64" fmla="*/ 355 w 601"/>
                <a:gd name="T65" fmla="*/ 21 h 874"/>
                <a:gd name="T66" fmla="*/ 300 w 601"/>
                <a:gd name="T67" fmla="*/ 0 h 874"/>
                <a:gd name="T68" fmla="*/ 246 w 601"/>
                <a:gd name="T69" fmla="*/ 21 h 874"/>
                <a:gd name="T70" fmla="*/ 191 w 601"/>
                <a:gd name="T71" fmla="*/ 0 h 874"/>
                <a:gd name="T72" fmla="*/ 109 w 601"/>
                <a:gd name="T73" fmla="*/ 82 h 874"/>
                <a:gd name="T74" fmla="*/ 109 w 601"/>
                <a:gd name="T75" fmla="*/ 164 h 874"/>
                <a:gd name="T76" fmla="*/ 27 w 601"/>
                <a:gd name="T77" fmla="*/ 164 h 874"/>
                <a:gd name="T78" fmla="*/ 0 w 601"/>
                <a:gd name="T79" fmla="*/ 191 h 874"/>
                <a:gd name="T80" fmla="*/ 27 w 601"/>
                <a:gd name="T81" fmla="*/ 218 h 874"/>
                <a:gd name="T82" fmla="*/ 109 w 601"/>
                <a:gd name="T83" fmla="*/ 218 h 874"/>
                <a:gd name="T84" fmla="*/ 109 w 601"/>
                <a:gd name="T85" fmla="*/ 328 h 874"/>
                <a:gd name="T86" fmla="*/ 142 w 601"/>
                <a:gd name="T87" fmla="*/ 482 h 874"/>
                <a:gd name="T88" fmla="*/ 145 w 601"/>
                <a:gd name="T89" fmla="*/ 492 h 874"/>
                <a:gd name="T90" fmla="*/ 27 w 601"/>
                <a:gd name="T91" fmla="*/ 492 h 874"/>
                <a:gd name="T92" fmla="*/ 0 w 601"/>
                <a:gd name="T93" fmla="*/ 519 h 874"/>
                <a:gd name="T94" fmla="*/ 0 w 601"/>
                <a:gd name="T95" fmla="*/ 519 h 874"/>
                <a:gd name="T96" fmla="*/ 0 w 601"/>
                <a:gd name="T97" fmla="*/ 519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1" h="874">
                  <a:moveTo>
                    <a:pt x="0" y="519"/>
                  </a:moveTo>
                  <a:cubicBezTo>
                    <a:pt x="0" y="534"/>
                    <a:pt x="12" y="546"/>
                    <a:pt x="27" y="546"/>
                  </a:cubicBezTo>
                  <a:cubicBezTo>
                    <a:pt x="160" y="546"/>
                    <a:pt x="160" y="546"/>
                    <a:pt x="160" y="546"/>
                  </a:cubicBezTo>
                  <a:cubicBezTo>
                    <a:pt x="162" y="557"/>
                    <a:pt x="164" y="566"/>
                    <a:pt x="164" y="573"/>
                  </a:cubicBezTo>
                  <a:cubicBezTo>
                    <a:pt x="164" y="846"/>
                    <a:pt x="164" y="846"/>
                    <a:pt x="164" y="846"/>
                  </a:cubicBezTo>
                  <a:cubicBezTo>
                    <a:pt x="164" y="862"/>
                    <a:pt x="176" y="874"/>
                    <a:pt x="191" y="874"/>
                  </a:cubicBezTo>
                  <a:cubicBezTo>
                    <a:pt x="206" y="874"/>
                    <a:pt x="218" y="862"/>
                    <a:pt x="218" y="846"/>
                  </a:cubicBezTo>
                  <a:cubicBezTo>
                    <a:pt x="218" y="573"/>
                    <a:pt x="218" y="573"/>
                    <a:pt x="218" y="573"/>
                  </a:cubicBezTo>
                  <a:cubicBezTo>
                    <a:pt x="218" y="545"/>
                    <a:pt x="207" y="508"/>
                    <a:pt x="194" y="466"/>
                  </a:cubicBezTo>
                  <a:cubicBezTo>
                    <a:pt x="180" y="420"/>
                    <a:pt x="164" y="369"/>
                    <a:pt x="164" y="328"/>
                  </a:cubicBezTo>
                  <a:cubicBezTo>
                    <a:pt x="164" y="82"/>
                    <a:pt x="164" y="82"/>
                    <a:pt x="164" y="82"/>
                  </a:cubicBezTo>
                  <a:cubicBezTo>
                    <a:pt x="164" y="67"/>
                    <a:pt x="176" y="55"/>
                    <a:pt x="191" y="55"/>
                  </a:cubicBezTo>
                  <a:cubicBezTo>
                    <a:pt x="206" y="55"/>
                    <a:pt x="218" y="67"/>
                    <a:pt x="218" y="82"/>
                  </a:cubicBezTo>
                  <a:cubicBezTo>
                    <a:pt x="218" y="97"/>
                    <a:pt x="231" y="109"/>
                    <a:pt x="246" y="109"/>
                  </a:cubicBezTo>
                  <a:cubicBezTo>
                    <a:pt x="261" y="109"/>
                    <a:pt x="273" y="97"/>
                    <a:pt x="273" y="82"/>
                  </a:cubicBezTo>
                  <a:cubicBezTo>
                    <a:pt x="273" y="67"/>
                    <a:pt x="285" y="55"/>
                    <a:pt x="300" y="55"/>
                  </a:cubicBezTo>
                  <a:cubicBezTo>
                    <a:pt x="315" y="55"/>
                    <a:pt x="328" y="67"/>
                    <a:pt x="328" y="82"/>
                  </a:cubicBezTo>
                  <a:cubicBezTo>
                    <a:pt x="328" y="97"/>
                    <a:pt x="340" y="109"/>
                    <a:pt x="355" y="109"/>
                  </a:cubicBezTo>
                  <a:cubicBezTo>
                    <a:pt x="370" y="109"/>
                    <a:pt x="382" y="97"/>
                    <a:pt x="382" y="82"/>
                  </a:cubicBezTo>
                  <a:cubicBezTo>
                    <a:pt x="382" y="67"/>
                    <a:pt x="395" y="55"/>
                    <a:pt x="410" y="55"/>
                  </a:cubicBezTo>
                  <a:cubicBezTo>
                    <a:pt x="425" y="55"/>
                    <a:pt x="437" y="67"/>
                    <a:pt x="437" y="82"/>
                  </a:cubicBezTo>
                  <a:cubicBezTo>
                    <a:pt x="437" y="97"/>
                    <a:pt x="449" y="109"/>
                    <a:pt x="464" y="109"/>
                  </a:cubicBezTo>
                  <a:cubicBezTo>
                    <a:pt x="479" y="109"/>
                    <a:pt x="492" y="97"/>
                    <a:pt x="492" y="82"/>
                  </a:cubicBezTo>
                  <a:cubicBezTo>
                    <a:pt x="492" y="67"/>
                    <a:pt x="504" y="55"/>
                    <a:pt x="519" y="55"/>
                  </a:cubicBezTo>
                  <a:cubicBezTo>
                    <a:pt x="534" y="55"/>
                    <a:pt x="546" y="67"/>
                    <a:pt x="546" y="82"/>
                  </a:cubicBezTo>
                  <a:cubicBezTo>
                    <a:pt x="546" y="300"/>
                    <a:pt x="546" y="300"/>
                    <a:pt x="546" y="300"/>
                  </a:cubicBezTo>
                  <a:cubicBezTo>
                    <a:pt x="546" y="315"/>
                    <a:pt x="558" y="328"/>
                    <a:pt x="573" y="328"/>
                  </a:cubicBezTo>
                  <a:cubicBezTo>
                    <a:pt x="589" y="328"/>
                    <a:pt x="601" y="315"/>
                    <a:pt x="601" y="300"/>
                  </a:cubicBezTo>
                  <a:cubicBezTo>
                    <a:pt x="601" y="82"/>
                    <a:pt x="601" y="82"/>
                    <a:pt x="601" y="82"/>
                  </a:cubicBezTo>
                  <a:cubicBezTo>
                    <a:pt x="601" y="37"/>
                    <a:pt x="564" y="0"/>
                    <a:pt x="519" y="0"/>
                  </a:cubicBezTo>
                  <a:cubicBezTo>
                    <a:pt x="498" y="0"/>
                    <a:pt x="479" y="8"/>
                    <a:pt x="464" y="21"/>
                  </a:cubicBezTo>
                  <a:cubicBezTo>
                    <a:pt x="450" y="8"/>
                    <a:pt x="431" y="0"/>
                    <a:pt x="410" y="0"/>
                  </a:cubicBezTo>
                  <a:cubicBezTo>
                    <a:pt x="389" y="0"/>
                    <a:pt x="369" y="8"/>
                    <a:pt x="355" y="21"/>
                  </a:cubicBezTo>
                  <a:cubicBezTo>
                    <a:pt x="340" y="8"/>
                    <a:pt x="321" y="0"/>
                    <a:pt x="300" y="0"/>
                  </a:cubicBezTo>
                  <a:cubicBezTo>
                    <a:pt x="279" y="0"/>
                    <a:pt x="260" y="8"/>
                    <a:pt x="246" y="21"/>
                  </a:cubicBezTo>
                  <a:cubicBezTo>
                    <a:pt x="231" y="8"/>
                    <a:pt x="212" y="0"/>
                    <a:pt x="191" y="0"/>
                  </a:cubicBezTo>
                  <a:cubicBezTo>
                    <a:pt x="146" y="0"/>
                    <a:pt x="109" y="37"/>
                    <a:pt x="109" y="82"/>
                  </a:cubicBezTo>
                  <a:cubicBezTo>
                    <a:pt x="109" y="164"/>
                    <a:pt x="109" y="164"/>
                    <a:pt x="109" y="164"/>
                  </a:cubicBezTo>
                  <a:cubicBezTo>
                    <a:pt x="27" y="164"/>
                    <a:pt x="27" y="164"/>
                    <a:pt x="27" y="164"/>
                  </a:cubicBezTo>
                  <a:cubicBezTo>
                    <a:pt x="12" y="164"/>
                    <a:pt x="0" y="176"/>
                    <a:pt x="0" y="191"/>
                  </a:cubicBezTo>
                  <a:cubicBezTo>
                    <a:pt x="0" y="206"/>
                    <a:pt x="12" y="218"/>
                    <a:pt x="27" y="218"/>
                  </a:cubicBezTo>
                  <a:cubicBezTo>
                    <a:pt x="109" y="218"/>
                    <a:pt x="109" y="218"/>
                    <a:pt x="109" y="218"/>
                  </a:cubicBezTo>
                  <a:cubicBezTo>
                    <a:pt x="109" y="328"/>
                    <a:pt x="109" y="328"/>
                    <a:pt x="109" y="328"/>
                  </a:cubicBezTo>
                  <a:cubicBezTo>
                    <a:pt x="109" y="377"/>
                    <a:pt x="127" y="433"/>
                    <a:pt x="142" y="482"/>
                  </a:cubicBezTo>
                  <a:cubicBezTo>
                    <a:pt x="143" y="485"/>
                    <a:pt x="144" y="488"/>
                    <a:pt x="145" y="492"/>
                  </a:cubicBezTo>
                  <a:cubicBezTo>
                    <a:pt x="27" y="492"/>
                    <a:pt x="27" y="492"/>
                    <a:pt x="27" y="492"/>
                  </a:cubicBezTo>
                  <a:cubicBezTo>
                    <a:pt x="12" y="492"/>
                    <a:pt x="0" y="504"/>
                    <a:pt x="0" y="519"/>
                  </a:cubicBezTo>
                  <a:close/>
                  <a:moveTo>
                    <a:pt x="0" y="519"/>
                  </a:moveTo>
                  <a:cubicBezTo>
                    <a:pt x="0" y="519"/>
                    <a:pt x="0" y="519"/>
                    <a:pt x="0" y="519"/>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o-RO"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 name="Freeform 57">
              <a:extLst>
                <a:ext uri="{FF2B5EF4-FFF2-40B4-BE49-F238E27FC236}">
                  <a16:creationId xmlns:a16="http://schemas.microsoft.com/office/drawing/2014/main" id="{1C248289-B01E-4A73-FC3E-22A81222315C}"/>
                </a:ext>
              </a:extLst>
            </p:cNvPr>
            <p:cNvSpPr>
              <a:spLocks noEditPoints="1"/>
            </p:cNvSpPr>
            <p:nvPr/>
          </p:nvSpPr>
          <p:spPr bwMode="auto">
            <a:xfrm>
              <a:off x="14544416" y="3870876"/>
              <a:ext cx="213053" cy="59673"/>
            </a:xfrm>
            <a:custGeom>
              <a:avLst/>
              <a:gdLst>
                <a:gd name="T0" fmla="*/ 427 w 792"/>
                <a:gd name="T1" fmla="*/ 95 h 218"/>
                <a:gd name="T2" fmla="*/ 655 w 792"/>
                <a:gd name="T3" fmla="*/ 218 h 218"/>
                <a:gd name="T4" fmla="*/ 792 w 792"/>
                <a:gd name="T5" fmla="*/ 163 h 218"/>
                <a:gd name="T6" fmla="*/ 764 w 792"/>
                <a:gd name="T7" fmla="*/ 136 h 218"/>
                <a:gd name="T8" fmla="*/ 739 w 792"/>
                <a:gd name="T9" fmla="*/ 152 h 218"/>
                <a:gd name="T10" fmla="*/ 655 w 792"/>
                <a:gd name="T11" fmla="*/ 163 h 218"/>
                <a:gd name="T12" fmla="*/ 467 w 792"/>
                <a:gd name="T13" fmla="*/ 58 h 218"/>
                <a:gd name="T14" fmla="*/ 382 w 792"/>
                <a:gd name="T15" fmla="*/ 0 h 218"/>
                <a:gd name="T16" fmla="*/ 27 w 792"/>
                <a:gd name="T17" fmla="*/ 0 h 218"/>
                <a:gd name="T18" fmla="*/ 0 w 792"/>
                <a:gd name="T19" fmla="*/ 27 h 218"/>
                <a:gd name="T20" fmla="*/ 27 w 792"/>
                <a:gd name="T21" fmla="*/ 54 h 218"/>
                <a:gd name="T22" fmla="*/ 382 w 792"/>
                <a:gd name="T23" fmla="*/ 54 h 218"/>
                <a:gd name="T24" fmla="*/ 427 w 792"/>
                <a:gd name="T25" fmla="*/ 95 h 218"/>
                <a:gd name="T26" fmla="*/ 427 w 792"/>
                <a:gd name="T27" fmla="*/ 95 h 218"/>
                <a:gd name="T28" fmla="*/ 427 w 792"/>
                <a:gd name="T29" fmla="*/ 9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2" h="218">
                  <a:moveTo>
                    <a:pt x="427" y="95"/>
                  </a:moveTo>
                  <a:cubicBezTo>
                    <a:pt x="472" y="144"/>
                    <a:pt x="539" y="218"/>
                    <a:pt x="655" y="218"/>
                  </a:cubicBezTo>
                  <a:cubicBezTo>
                    <a:pt x="768" y="218"/>
                    <a:pt x="792" y="188"/>
                    <a:pt x="792" y="163"/>
                  </a:cubicBezTo>
                  <a:cubicBezTo>
                    <a:pt x="792" y="148"/>
                    <a:pt x="779" y="136"/>
                    <a:pt x="764" y="136"/>
                  </a:cubicBezTo>
                  <a:cubicBezTo>
                    <a:pt x="753" y="136"/>
                    <a:pt x="744" y="143"/>
                    <a:pt x="739" y="152"/>
                  </a:cubicBezTo>
                  <a:cubicBezTo>
                    <a:pt x="734" y="155"/>
                    <a:pt x="714" y="163"/>
                    <a:pt x="655" y="163"/>
                  </a:cubicBezTo>
                  <a:cubicBezTo>
                    <a:pt x="563" y="163"/>
                    <a:pt x="510" y="105"/>
                    <a:pt x="467" y="58"/>
                  </a:cubicBezTo>
                  <a:cubicBezTo>
                    <a:pt x="438" y="25"/>
                    <a:pt x="414" y="0"/>
                    <a:pt x="382" y="0"/>
                  </a:cubicBezTo>
                  <a:cubicBezTo>
                    <a:pt x="27" y="0"/>
                    <a:pt x="27" y="0"/>
                    <a:pt x="27" y="0"/>
                  </a:cubicBezTo>
                  <a:cubicBezTo>
                    <a:pt x="12" y="0"/>
                    <a:pt x="0" y="12"/>
                    <a:pt x="0" y="27"/>
                  </a:cubicBezTo>
                  <a:cubicBezTo>
                    <a:pt x="0" y="42"/>
                    <a:pt x="12" y="54"/>
                    <a:pt x="27" y="54"/>
                  </a:cubicBezTo>
                  <a:cubicBezTo>
                    <a:pt x="382" y="54"/>
                    <a:pt x="382" y="54"/>
                    <a:pt x="382" y="54"/>
                  </a:cubicBezTo>
                  <a:cubicBezTo>
                    <a:pt x="390" y="54"/>
                    <a:pt x="412" y="79"/>
                    <a:pt x="427" y="95"/>
                  </a:cubicBezTo>
                  <a:close/>
                  <a:moveTo>
                    <a:pt x="427" y="95"/>
                  </a:moveTo>
                  <a:cubicBezTo>
                    <a:pt x="427" y="95"/>
                    <a:pt x="427" y="95"/>
                    <a:pt x="427" y="9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o-RO"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 name="Freeform 58">
              <a:extLst>
                <a:ext uri="{FF2B5EF4-FFF2-40B4-BE49-F238E27FC236}">
                  <a16:creationId xmlns:a16="http://schemas.microsoft.com/office/drawing/2014/main" id="{CABD4FD6-420E-4398-5C85-A93CEB4EA871}"/>
                </a:ext>
              </a:extLst>
            </p:cNvPr>
            <p:cNvSpPr>
              <a:spLocks noEditPoints="1"/>
            </p:cNvSpPr>
            <p:nvPr/>
          </p:nvSpPr>
          <p:spPr bwMode="auto">
            <a:xfrm>
              <a:off x="14360251" y="4022546"/>
              <a:ext cx="235924" cy="166588"/>
            </a:xfrm>
            <a:custGeom>
              <a:avLst/>
              <a:gdLst>
                <a:gd name="T0" fmla="*/ 847 w 874"/>
                <a:gd name="T1" fmla="*/ 382 h 600"/>
                <a:gd name="T2" fmla="*/ 573 w 874"/>
                <a:gd name="T3" fmla="*/ 382 h 600"/>
                <a:gd name="T4" fmla="*/ 466 w 874"/>
                <a:gd name="T5" fmla="*/ 406 h 600"/>
                <a:gd name="T6" fmla="*/ 328 w 874"/>
                <a:gd name="T7" fmla="*/ 437 h 600"/>
                <a:gd name="T8" fmla="*/ 82 w 874"/>
                <a:gd name="T9" fmla="*/ 437 h 600"/>
                <a:gd name="T10" fmla="*/ 55 w 874"/>
                <a:gd name="T11" fmla="*/ 409 h 600"/>
                <a:gd name="T12" fmla="*/ 82 w 874"/>
                <a:gd name="T13" fmla="*/ 382 h 600"/>
                <a:gd name="T14" fmla="*/ 109 w 874"/>
                <a:gd name="T15" fmla="*/ 355 h 600"/>
                <a:gd name="T16" fmla="*/ 82 w 874"/>
                <a:gd name="T17" fmla="*/ 327 h 600"/>
                <a:gd name="T18" fmla="*/ 55 w 874"/>
                <a:gd name="T19" fmla="*/ 300 h 600"/>
                <a:gd name="T20" fmla="*/ 82 w 874"/>
                <a:gd name="T21" fmla="*/ 273 h 600"/>
                <a:gd name="T22" fmla="*/ 109 w 874"/>
                <a:gd name="T23" fmla="*/ 245 h 600"/>
                <a:gd name="T24" fmla="*/ 82 w 874"/>
                <a:gd name="T25" fmla="*/ 218 h 600"/>
                <a:gd name="T26" fmla="*/ 55 w 874"/>
                <a:gd name="T27" fmla="*/ 191 h 600"/>
                <a:gd name="T28" fmla="*/ 82 w 874"/>
                <a:gd name="T29" fmla="*/ 164 h 600"/>
                <a:gd name="T30" fmla="*/ 109 w 874"/>
                <a:gd name="T31" fmla="*/ 136 h 600"/>
                <a:gd name="T32" fmla="*/ 82 w 874"/>
                <a:gd name="T33" fmla="*/ 109 h 600"/>
                <a:gd name="T34" fmla="*/ 55 w 874"/>
                <a:gd name="T35" fmla="*/ 82 h 600"/>
                <a:gd name="T36" fmla="*/ 82 w 874"/>
                <a:gd name="T37" fmla="*/ 54 h 600"/>
                <a:gd name="T38" fmla="*/ 300 w 874"/>
                <a:gd name="T39" fmla="*/ 54 h 600"/>
                <a:gd name="T40" fmla="*/ 328 w 874"/>
                <a:gd name="T41" fmla="*/ 27 h 600"/>
                <a:gd name="T42" fmla="*/ 300 w 874"/>
                <a:gd name="T43" fmla="*/ 0 h 600"/>
                <a:gd name="T44" fmla="*/ 82 w 874"/>
                <a:gd name="T45" fmla="*/ 0 h 600"/>
                <a:gd name="T46" fmla="*/ 0 w 874"/>
                <a:gd name="T47" fmla="*/ 82 h 600"/>
                <a:gd name="T48" fmla="*/ 21 w 874"/>
                <a:gd name="T49" fmla="*/ 136 h 600"/>
                <a:gd name="T50" fmla="*/ 0 w 874"/>
                <a:gd name="T51" fmla="*/ 191 h 600"/>
                <a:gd name="T52" fmla="*/ 21 w 874"/>
                <a:gd name="T53" fmla="*/ 245 h 600"/>
                <a:gd name="T54" fmla="*/ 0 w 874"/>
                <a:gd name="T55" fmla="*/ 300 h 600"/>
                <a:gd name="T56" fmla="*/ 21 w 874"/>
                <a:gd name="T57" fmla="*/ 355 h 600"/>
                <a:gd name="T58" fmla="*/ 0 w 874"/>
                <a:gd name="T59" fmla="*/ 409 h 600"/>
                <a:gd name="T60" fmla="*/ 82 w 874"/>
                <a:gd name="T61" fmla="*/ 491 h 600"/>
                <a:gd name="T62" fmla="*/ 164 w 874"/>
                <a:gd name="T63" fmla="*/ 491 h 600"/>
                <a:gd name="T64" fmla="*/ 164 w 874"/>
                <a:gd name="T65" fmla="*/ 573 h 600"/>
                <a:gd name="T66" fmla="*/ 191 w 874"/>
                <a:gd name="T67" fmla="*/ 600 h 600"/>
                <a:gd name="T68" fmla="*/ 218 w 874"/>
                <a:gd name="T69" fmla="*/ 573 h 600"/>
                <a:gd name="T70" fmla="*/ 218 w 874"/>
                <a:gd name="T71" fmla="*/ 491 h 600"/>
                <a:gd name="T72" fmla="*/ 328 w 874"/>
                <a:gd name="T73" fmla="*/ 491 h 600"/>
                <a:gd name="T74" fmla="*/ 482 w 874"/>
                <a:gd name="T75" fmla="*/ 459 h 600"/>
                <a:gd name="T76" fmla="*/ 492 w 874"/>
                <a:gd name="T77" fmla="*/ 456 h 600"/>
                <a:gd name="T78" fmla="*/ 492 w 874"/>
                <a:gd name="T79" fmla="*/ 573 h 600"/>
                <a:gd name="T80" fmla="*/ 519 w 874"/>
                <a:gd name="T81" fmla="*/ 600 h 600"/>
                <a:gd name="T82" fmla="*/ 546 w 874"/>
                <a:gd name="T83" fmla="*/ 573 h 600"/>
                <a:gd name="T84" fmla="*/ 546 w 874"/>
                <a:gd name="T85" fmla="*/ 441 h 600"/>
                <a:gd name="T86" fmla="*/ 573 w 874"/>
                <a:gd name="T87" fmla="*/ 437 h 600"/>
                <a:gd name="T88" fmla="*/ 847 w 874"/>
                <a:gd name="T89" fmla="*/ 437 h 600"/>
                <a:gd name="T90" fmla="*/ 874 w 874"/>
                <a:gd name="T91" fmla="*/ 409 h 600"/>
                <a:gd name="T92" fmla="*/ 847 w 874"/>
                <a:gd name="T93" fmla="*/ 382 h 600"/>
                <a:gd name="T94" fmla="*/ 847 w 874"/>
                <a:gd name="T95" fmla="*/ 382 h 600"/>
                <a:gd name="T96" fmla="*/ 847 w 874"/>
                <a:gd name="T97" fmla="*/ 38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74" h="600">
                  <a:moveTo>
                    <a:pt x="847" y="382"/>
                  </a:moveTo>
                  <a:cubicBezTo>
                    <a:pt x="573" y="382"/>
                    <a:pt x="573" y="382"/>
                    <a:pt x="573" y="382"/>
                  </a:cubicBezTo>
                  <a:cubicBezTo>
                    <a:pt x="545" y="382"/>
                    <a:pt x="508" y="393"/>
                    <a:pt x="466" y="406"/>
                  </a:cubicBezTo>
                  <a:cubicBezTo>
                    <a:pt x="420" y="421"/>
                    <a:pt x="369" y="437"/>
                    <a:pt x="328" y="437"/>
                  </a:cubicBezTo>
                  <a:cubicBezTo>
                    <a:pt x="82" y="437"/>
                    <a:pt x="82" y="437"/>
                    <a:pt x="82" y="437"/>
                  </a:cubicBezTo>
                  <a:cubicBezTo>
                    <a:pt x="67" y="437"/>
                    <a:pt x="55" y="424"/>
                    <a:pt x="55" y="409"/>
                  </a:cubicBezTo>
                  <a:cubicBezTo>
                    <a:pt x="55" y="394"/>
                    <a:pt x="67" y="382"/>
                    <a:pt x="82" y="382"/>
                  </a:cubicBezTo>
                  <a:cubicBezTo>
                    <a:pt x="97" y="382"/>
                    <a:pt x="109" y="370"/>
                    <a:pt x="109" y="355"/>
                  </a:cubicBezTo>
                  <a:cubicBezTo>
                    <a:pt x="109" y="340"/>
                    <a:pt x="97" y="327"/>
                    <a:pt x="82" y="327"/>
                  </a:cubicBezTo>
                  <a:cubicBezTo>
                    <a:pt x="67" y="327"/>
                    <a:pt x="55" y="315"/>
                    <a:pt x="55" y="300"/>
                  </a:cubicBezTo>
                  <a:cubicBezTo>
                    <a:pt x="55" y="285"/>
                    <a:pt x="67" y="273"/>
                    <a:pt x="82" y="273"/>
                  </a:cubicBezTo>
                  <a:cubicBezTo>
                    <a:pt x="97" y="273"/>
                    <a:pt x="109" y="260"/>
                    <a:pt x="109" y="245"/>
                  </a:cubicBezTo>
                  <a:cubicBezTo>
                    <a:pt x="109" y="230"/>
                    <a:pt x="97" y="218"/>
                    <a:pt x="82" y="218"/>
                  </a:cubicBezTo>
                  <a:cubicBezTo>
                    <a:pt x="67" y="218"/>
                    <a:pt x="55" y="206"/>
                    <a:pt x="55" y="191"/>
                  </a:cubicBezTo>
                  <a:cubicBezTo>
                    <a:pt x="55" y="176"/>
                    <a:pt x="67" y="164"/>
                    <a:pt x="82" y="164"/>
                  </a:cubicBezTo>
                  <a:cubicBezTo>
                    <a:pt x="97" y="164"/>
                    <a:pt x="109" y="151"/>
                    <a:pt x="109" y="136"/>
                  </a:cubicBezTo>
                  <a:cubicBezTo>
                    <a:pt x="109" y="121"/>
                    <a:pt x="97" y="109"/>
                    <a:pt x="82" y="109"/>
                  </a:cubicBezTo>
                  <a:cubicBezTo>
                    <a:pt x="67" y="109"/>
                    <a:pt x="55" y="97"/>
                    <a:pt x="55" y="82"/>
                  </a:cubicBezTo>
                  <a:cubicBezTo>
                    <a:pt x="55" y="67"/>
                    <a:pt x="67" y="54"/>
                    <a:pt x="82" y="54"/>
                  </a:cubicBezTo>
                  <a:cubicBezTo>
                    <a:pt x="300" y="54"/>
                    <a:pt x="300" y="54"/>
                    <a:pt x="300" y="54"/>
                  </a:cubicBezTo>
                  <a:cubicBezTo>
                    <a:pt x="315" y="54"/>
                    <a:pt x="328" y="42"/>
                    <a:pt x="328" y="27"/>
                  </a:cubicBezTo>
                  <a:cubicBezTo>
                    <a:pt x="328" y="12"/>
                    <a:pt x="315" y="0"/>
                    <a:pt x="300" y="0"/>
                  </a:cubicBezTo>
                  <a:cubicBezTo>
                    <a:pt x="82" y="0"/>
                    <a:pt x="82" y="0"/>
                    <a:pt x="82" y="0"/>
                  </a:cubicBezTo>
                  <a:cubicBezTo>
                    <a:pt x="37" y="0"/>
                    <a:pt x="0" y="36"/>
                    <a:pt x="0" y="82"/>
                  </a:cubicBezTo>
                  <a:cubicBezTo>
                    <a:pt x="0" y="103"/>
                    <a:pt x="8" y="122"/>
                    <a:pt x="21" y="136"/>
                  </a:cubicBezTo>
                  <a:cubicBezTo>
                    <a:pt x="8" y="151"/>
                    <a:pt x="0" y="170"/>
                    <a:pt x="0" y="191"/>
                  </a:cubicBezTo>
                  <a:cubicBezTo>
                    <a:pt x="0" y="212"/>
                    <a:pt x="8" y="231"/>
                    <a:pt x="21" y="245"/>
                  </a:cubicBezTo>
                  <a:cubicBezTo>
                    <a:pt x="8" y="260"/>
                    <a:pt x="0" y="279"/>
                    <a:pt x="0" y="300"/>
                  </a:cubicBezTo>
                  <a:cubicBezTo>
                    <a:pt x="0" y="321"/>
                    <a:pt x="8" y="340"/>
                    <a:pt x="21" y="355"/>
                  </a:cubicBezTo>
                  <a:cubicBezTo>
                    <a:pt x="8" y="369"/>
                    <a:pt x="0" y="388"/>
                    <a:pt x="0" y="409"/>
                  </a:cubicBezTo>
                  <a:cubicBezTo>
                    <a:pt x="0" y="454"/>
                    <a:pt x="37" y="491"/>
                    <a:pt x="82" y="491"/>
                  </a:cubicBezTo>
                  <a:cubicBezTo>
                    <a:pt x="164" y="491"/>
                    <a:pt x="164" y="491"/>
                    <a:pt x="164" y="491"/>
                  </a:cubicBezTo>
                  <a:cubicBezTo>
                    <a:pt x="164" y="573"/>
                    <a:pt x="164" y="573"/>
                    <a:pt x="164" y="573"/>
                  </a:cubicBezTo>
                  <a:cubicBezTo>
                    <a:pt x="164" y="588"/>
                    <a:pt x="176" y="600"/>
                    <a:pt x="191" y="600"/>
                  </a:cubicBezTo>
                  <a:cubicBezTo>
                    <a:pt x="206" y="600"/>
                    <a:pt x="218" y="588"/>
                    <a:pt x="218" y="573"/>
                  </a:cubicBezTo>
                  <a:cubicBezTo>
                    <a:pt x="218" y="491"/>
                    <a:pt x="218" y="491"/>
                    <a:pt x="218" y="491"/>
                  </a:cubicBezTo>
                  <a:cubicBezTo>
                    <a:pt x="328" y="491"/>
                    <a:pt x="328" y="491"/>
                    <a:pt x="328" y="491"/>
                  </a:cubicBezTo>
                  <a:cubicBezTo>
                    <a:pt x="377" y="491"/>
                    <a:pt x="433" y="474"/>
                    <a:pt x="482" y="459"/>
                  </a:cubicBezTo>
                  <a:cubicBezTo>
                    <a:pt x="485" y="458"/>
                    <a:pt x="488" y="457"/>
                    <a:pt x="492" y="456"/>
                  </a:cubicBezTo>
                  <a:cubicBezTo>
                    <a:pt x="492" y="573"/>
                    <a:pt x="492" y="573"/>
                    <a:pt x="492" y="573"/>
                  </a:cubicBezTo>
                  <a:cubicBezTo>
                    <a:pt x="492" y="588"/>
                    <a:pt x="504" y="600"/>
                    <a:pt x="519" y="600"/>
                  </a:cubicBezTo>
                  <a:cubicBezTo>
                    <a:pt x="534" y="600"/>
                    <a:pt x="546" y="588"/>
                    <a:pt x="546" y="573"/>
                  </a:cubicBezTo>
                  <a:cubicBezTo>
                    <a:pt x="546" y="441"/>
                    <a:pt x="546" y="441"/>
                    <a:pt x="546" y="441"/>
                  </a:cubicBezTo>
                  <a:cubicBezTo>
                    <a:pt x="557" y="438"/>
                    <a:pt x="566" y="437"/>
                    <a:pt x="573" y="437"/>
                  </a:cubicBezTo>
                  <a:cubicBezTo>
                    <a:pt x="847" y="437"/>
                    <a:pt x="847" y="437"/>
                    <a:pt x="847" y="437"/>
                  </a:cubicBezTo>
                  <a:cubicBezTo>
                    <a:pt x="862" y="437"/>
                    <a:pt x="874" y="424"/>
                    <a:pt x="874" y="409"/>
                  </a:cubicBezTo>
                  <a:cubicBezTo>
                    <a:pt x="874" y="394"/>
                    <a:pt x="862" y="382"/>
                    <a:pt x="847" y="382"/>
                  </a:cubicBezTo>
                  <a:close/>
                  <a:moveTo>
                    <a:pt x="847" y="382"/>
                  </a:moveTo>
                  <a:cubicBezTo>
                    <a:pt x="847" y="382"/>
                    <a:pt x="847" y="382"/>
                    <a:pt x="847" y="38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o-RO"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 name="Freeform 59">
              <a:extLst>
                <a:ext uri="{FF2B5EF4-FFF2-40B4-BE49-F238E27FC236}">
                  <a16:creationId xmlns:a16="http://schemas.microsoft.com/office/drawing/2014/main" id="{79BD4849-25BB-AC67-DA63-467A953F4702}"/>
                </a:ext>
              </a:extLst>
            </p:cNvPr>
            <p:cNvSpPr>
              <a:spLocks noEditPoints="1"/>
            </p:cNvSpPr>
            <p:nvPr/>
          </p:nvSpPr>
          <p:spPr bwMode="auto">
            <a:xfrm>
              <a:off x="14566082" y="3732881"/>
              <a:ext cx="235924" cy="167832"/>
            </a:xfrm>
            <a:custGeom>
              <a:avLst/>
              <a:gdLst>
                <a:gd name="T0" fmla="*/ 852 w 873"/>
                <a:gd name="T1" fmla="*/ 246 h 601"/>
                <a:gd name="T2" fmla="*/ 873 w 873"/>
                <a:gd name="T3" fmla="*/ 191 h 601"/>
                <a:gd name="T4" fmla="*/ 791 w 873"/>
                <a:gd name="T5" fmla="*/ 109 h 601"/>
                <a:gd name="T6" fmla="*/ 710 w 873"/>
                <a:gd name="T7" fmla="*/ 109 h 601"/>
                <a:gd name="T8" fmla="*/ 710 w 873"/>
                <a:gd name="T9" fmla="*/ 27 h 601"/>
                <a:gd name="T10" fmla="*/ 682 w 873"/>
                <a:gd name="T11" fmla="*/ 0 h 601"/>
                <a:gd name="T12" fmla="*/ 655 w 873"/>
                <a:gd name="T13" fmla="*/ 27 h 601"/>
                <a:gd name="T14" fmla="*/ 655 w 873"/>
                <a:gd name="T15" fmla="*/ 109 h 601"/>
                <a:gd name="T16" fmla="*/ 546 w 873"/>
                <a:gd name="T17" fmla="*/ 109 h 601"/>
                <a:gd name="T18" fmla="*/ 391 w 873"/>
                <a:gd name="T19" fmla="*/ 142 h 601"/>
                <a:gd name="T20" fmla="*/ 382 w 873"/>
                <a:gd name="T21" fmla="*/ 145 h 601"/>
                <a:gd name="T22" fmla="*/ 382 w 873"/>
                <a:gd name="T23" fmla="*/ 27 h 601"/>
                <a:gd name="T24" fmla="*/ 355 w 873"/>
                <a:gd name="T25" fmla="*/ 0 h 601"/>
                <a:gd name="T26" fmla="*/ 327 w 873"/>
                <a:gd name="T27" fmla="*/ 27 h 601"/>
                <a:gd name="T28" fmla="*/ 327 w 873"/>
                <a:gd name="T29" fmla="*/ 160 h 601"/>
                <a:gd name="T30" fmla="*/ 300 w 873"/>
                <a:gd name="T31" fmla="*/ 164 h 601"/>
                <a:gd name="T32" fmla="*/ 27 w 873"/>
                <a:gd name="T33" fmla="*/ 164 h 601"/>
                <a:gd name="T34" fmla="*/ 0 w 873"/>
                <a:gd name="T35" fmla="*/ 191 h 601"/>
                <a:gd name="T36" fmla="*/ 27 w 873"/>
                <a:gd name="T37" fmla="*/ 218 h 601"/>
                <a:gd name="T38" fmla="*/ 300 w 873"/>
                <a:gd name="T39" fmla="*/ 218 h 601"/>
                <a:gd name="T40" fmla="*/ 407 w 873"/>
                <a:gd name="T41" fmla="*/ 194 h 601"/>
                <a:gd name="T42" fmla="*/ 546 w 873"/>
                <a:gd name="T43" fmla="*/ 164 h 601"/>
                <a:gd name="T44" fmla="*/ 791 w 873"/>
                <a:gd name="T45" fmla="*/ 164 h 601"/>
                <a:gd name="T46" fmla="*/ 819 w 873"/>
                <a:gd name="T47" fmla="*/ 191 h 601"/>
                <a:gd name="T48" fmla="*/ 791 w 873"/>
                <a:gd name="T49" fmla="*/ 218 h 601"/>
                <a:gd name="T50" fmla="*/ 764 w 873"/>
                <a:gd name="T51" fmla="*/ 246 h 601"/>
                <a:gd name="T52" fmla="*/ 791 w 873"/>
                <a:gd name="T53" fmla="*/ 273 h 601"/>
                <a:gd name="T54" fmla="*/ 819 w 873"/>
                <a:gd name="T55" fmla="*/ 300 h 601"/>
                <a:gd name="T56" fmla="*/ 791 w 873"/>
                <a:gd name="T57" fmla="*/ 328 h 601"/>
                <a:gd name="T58" fmla="*/ 764 w 873"/>
                <a:gd name="T59" fmla="*/ 355 h 601"/>
                <a:gd name="T60" fmla="*/ 791 w 873"/>
                <a:gd name="T61" fmla="*/ 382 h 601"/>
                <a:gd name="T62" fmla="*/ 819 w 873"/>
                <a:gd name="T63" fmla="*/ 410 h 601"/>
                <a:gd name="T64" fmla="*/ 791 w 873"/>
                <a:gd name="T65" fmla="*/ 437 h 601"/>
                <a:gd name="T66" fmla="*/ 764 w 873"/>
                <a:gd name="T67" fmla="*/ 464 h 601"/>
                <a:gd name="T68" fmla="*/ 791 w 873"/>
                <a:gd name="T69" fmla="*/ 491 h 601"/>
                <a:gd name="T70" fmla="*/ 819 w 873"/>
                <a:gd name="T71" fmla="*/ 519 h 601"/>
                <a:gd name="T72" fmla="*/ 791 w 873"/>
                <a:gd name="T73" fmla="*/ 546 h 601"/>
                <a:gd name="T74" fmla="*/ 573 w 873"/>
                <a:gd name="T75" fmla="*/ 546 h 601"/>
                <a:gd name="T76" fmla="*/ 546 w 873"/>
                <a:gd name="T77" fmla="*/ 573 h 601"/>
                <a:gd name="T78" fmla="*/ 573 w 873"/>
                <a:gd name="T79" fmla="*/ 601 h 601"/>
                <a:gd name="T80" fmla="*/ 791 w 873"/>
                <a:gd name="T81" fmla="*/ 601 h 601"/>
                <a:gd name="T82" fmla="*/ 873 w 873"/>
                <a:gd name="T83" fmla="*/ 519 h 601"/>
                <a:gd name="T84" fmla="*/ 852 w 873"/>
                <a:gd name="T85" fmla="*/ 464 h 601"/>
                <a:gd name="T86" fmla="*/ 873 w 873"/>
                <a:gd name="T87" fmla="*/ 410 h 601"/>
                <a:gd name="T88" fmla="*/ 852 w 873"/>
                <a:gd name="T89" fmla="*/ 355 h 601"/>
                <a:gd name="T90" fmla="*/ 873 w 873"/>
                <a:gd name="T91" fmla="*/ 300 h 601"/>
                <a:gd name="T92" fmla="*/ 852 w 873"/>
                <a:gd name="T93" fmla="*/ 246 h 601"/>
                <a:gd name="T94" fmla="*/ 852 w 873"/>
                <a:gd name="T95" fmla="*/ 246 h 601"/>
                <a:gd name="T96" fmla="*/ 852 w 873"/>
                <a:gd name="T97" fmla="*/ 246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73" h="601">
                  <a:moveTo>
                    <a:pt x="852" y="246"/>
                  </a:moveTo>
                  <a:cubicBezTo>
                    <a:pt x="865" y="231"/>
                    <a:pt x="873" y="212"/>
                    <a:pt x="873" y="191"/>
                  </a:cubicBezTo>
                  <a:cubicBezTo>
                    <a:pt x="873" y="146"/>
                    <a:pt x="837" y="109"/>
                    <a:pt x="791" y="109"/>
                  </a:cubicBezTo>
                  <a:cubicBezTo>
                    <a:pt x="710" y="109"/>
                    <a:pt x="710" y="109"/>
                    <a:pt x="710" y="109"/>
                  </a:cubicBezTo>
                  <a:cubicBezTo>
                    <a:pt x="710" y="27"/>
                    <a:pt x="710" y="27"/>
                    <a:pt x="710" y="27"/>
                  </a:cubicBezTo>
                  <a:cubicBezTo>
                    <a:pt x="710" y="12"/>
                    <a:pt x="697" y="0"/>
                    <a:pt x="682" y="0"/>
                  </a:cubicBezTo>
                  <a:cubicBezTo>
                    <a:pt x="667" y="0"/>
                    <a:pt x="655" y="12"/>
                    <a:pt x="655" y="27"/>
                  </a:cubicBezTo>
                  <a:cubicBezTo>
                    <a:pt x="655" y="109"/>
                    <a:pt x="655" y="109"/>
                    <a:pt x="655" y="109"/>
                  </a:cubicBezTo>
                  <a:cubicBezTo>
                    <a:pt x="546" y="109"/>
                    <a:pt x="546" y="109"/>
                    <a:pt x="546" y="109"/>
                  </a:cubicBezTo>
                  <a:cubicBezTo>
                    <a:pt x="496" y="109"/>
                    <a:pt x="441" y="127"/>
                    <a:pt x="391" y="142"/>
                  </a:cubicBezTo>
                  <a:cubicBezTo>
                    <a:pt x="388" y="143"/>
                    <a:pt x="385" y="144"/>
                    <a:pt x="382" y="145"/>
                  </a:cubicBezTo>
                  <a:cubicBezTo>
                    <a:pt x="382" y="27"/>
                    <a:pt x="382" y="27"/>
                    <a:pt x="382" y="27"/>
                  </a:cubicBezTo>
                  <a:cubicBezTo>
                    <a:pt x="382" y="12"/>
                    <a:pt x="370" y="0"/>
                    <a:pt x="355" y="0"/>
                  </a:cubicBezTo>
                  <a:cubicBezTo>
                    <a:pt x="339" y="0"/>
                    <a:pt x="327" y="12"/>
                    <a:pt x="327" y="27"/>
                  </a:cubicBezTo>
                  <a:cubicBezTo>
                    <a:pt x="327" y="160"/>
                    <a:pt x="327" y="160"/>
                    <a:pt x="327" y="160"/>
                  </a:cubicBezTo>
                  <a:cubicBezTo>
                    <a:pt x="317" y="162"/>
                    <a:pt x="307" y="164"/>
                    <a:pt x="300" y="164"/>
                  </a:cubicBezTo>
                  <a:cubicBezTo>
                    <a:pt x="27" y="164"/>
                    <a:pt x="27" y="164"/>
                    <a:pt x="27" y="164"/>
                  </a:cubicBezTo>
                  <a:cubicBezTo>
                    <a:pt x="12" y="164"/>
                    <a:pt x="0" y="176"/>
                    <a:pt x="0" y="191"/>
                  </a:cubicBezTo>
                  <a:cubicBezTo>
                    <a:pt x="0" y="206"/>
                    <a:pt x="12" y="218"/>
                    <a:pt x="27" y="218"/>
                  </a:cubicBezTo>
                  <a:cubicBezTo>
                    <a:pt x="300" y="218"/>
                    <a:pt x="300" y="218"/>
                    <a:pt x="300" y="218"/>
                  </a:cubicBezTo>
                  <a:cubicBezTo>
                    <a:pt x="329" y="218"/>
                    <a:pt x="365" y="207"/>
                    <a:pt x="407" y="194"/>
                  </a:cubicBezTo>
                  <a:cubicBezTo>
                    <a:pt x="453" y="180"/>
                    <a:pt x="505" y="164"/>
                    <a:pt x="546" y="164"/>
                  </a:cubicBezTo>
                  <a:cubicBezTo>
                    <a:pt x="791" y="164"/>
                    <a:pt x="791" y="164"/>
                    <a:pt x="791" y="164"/>
                  </a:cubicBezTo>
                  <a:cubicBezTo>
                    <a:pt x="807" y="164"/>
                    <a:pt x="819" y="176"/>
                    <a:pt x="819" y="191"/>
                  </a:cubicBezTo>
                  <a:cubicBezTo>
                    <a:pt x="819" y="206"/>
                    <a:pt x="807" y="218"/>
                    <a:pt x="791" y="218"/>
                  </a:cubicBezTo>
                  <a:cubicBezTo>
                    <a:pt x="776" y="218"/>
                    <a:pt x="764" y="231"/>
                    <a:pt x="764" y="246"/>
                  </a:cubicBezTo>
                  <a:cubicBezTo>
                    <a:pt x="764" y="261"/>
                    <a:pt x="776" y="273"/>
                    <a:pt x="791" y="273"/>
                  </a:cubicBezTo>
                  <a:cubicBezTo>
                    <a:pt x="807" y="273"/>
                    <a:pt x="819" y="285"/>
                    <a:pt x="819" y="300"/>
                  </a:cubicBezTo>
                  <a:cubicBezTo>
                    <a:pt x="819" y="315"/>
                    <a:pt x="807" y="328"/>
                    <a:pt x="791" y="328"/>
                  </a:cubicBezTo>
                  <a:cubicBezTo>
                    <a:pt x="776" y="328"/>
                    <a:pt x="764" y="340"/>
                    <a:pt x="764" y="355"/>
                  </a:cubicBezTo>
                  <a:cubicBezTo>
                    <a:pt x="764" y="370"/>
                    <a:pt x="776" y="382"/>
                    <a:pt x="791" y="382"/>
                  </a:cubicBezTo>
                  <a:cubicBezTo>
                    <a:pt x="807" y="382"/>
                    <a:pt x="819" y="395"/>
                    <a:pt x="819" y="410"/>
                  </a:cubicBezTo>
                  <a:cubicBezTo>
                    <a:pt x="819" y="425"/>
                    <a:pt x="807" y="437"/>
                    <a:pt x="791" y="437"/>
                  </a:cubicBezTo>
                  <a:cubicBezTo>
                    <a:pt x="776" y="437"/>
                    <a:pt x="764" y="449"/>
                    <a:pt x="764" y="464"/>
                  </a:cubicBezTo>
                  <a:cubicBezTo>
                    <a:pt x="764" y="479"/>
                    <a:pt x="776" y="491"/>
                    <a:pt x="791" y="491"/>
                  </a:cubicBezTo>
                  <a:cubicBezTo>
                    <a:pt x="807" y="491"/>
                    <a:pt x="819" y="504"/>
                    <a:pt x="819" y="519"/>
                  </a:cubicBezTo>
                  <a:cubicBezTo>
                    <a:pt x="819" y="534"/>
                    <a:pt x="807" y="546"/>
                    <a:pt x="791" y="546"/>
                  </a:cubicBezTo>
                  <a:cubicBezTo>
                    <a:pt x="573" y="546"/>
                    <a:pt x="573" y="546"/>
                    <a:pt x="573" y="546"/>
                  </a:cubicBezTo>
                  <a:cubicBezTo>
                    <a:pt x="558" y="546"/>
                    <a:pt x="546" y="558"/>
                    <a:pt x="546" y="573"/>
                  </a:cubicBezTo>
                  <a:cubicBezTo>
                    <a:pt x="546" y="588"/>
                    <a:pt x="558" y="601"/>
                    <a:pt x="573" y="601"/>
                  </a:cubicBezTo>
                  <a:cubicBezTo>
                    <a:pt x="791" y="601"/>
                    <a:pt x="791" y="601"/>
                    <a:pt x="791" y="601"/>
                  </a:cubicBezTo>
                  <a:cubicBezTo>
                    <a:pt x="837" y="601"/>
                    <a:pt x="873" y="564"/>
                    <a:pt x="873" y="519"/>
                  </a:cubicBezTo>
                  <a:cubicBezTo>
                    <a:pt x="873" y="498"/>
                    <a:pt x="865" y="479"/>
                    <a:pt x="852" y="464"/>
                  </a:cubicBezTo>
                  <a:cubicBezTo>
                    <a:pt x="865" y="450"/>
                    <a:pt x="873" y="431"/>
                    <a:pt x="873" y="410"/>
                  </a:cubicBezTo>
                  <a:cubicBezTo>
                    <a:pt x="873" y="389"/>
                    <a:pt x="865" y="369"/>
                    <a:pt x="852" y="355"/>
                  </a:cubicBezTo>
                  <a:cubicBezTo>
                    <a:pt x="865" y="340"/>
                    <a:pt x="873" y="321"/>
                    <a:pt x="873" y="300"/>
                  </a:cubicBezTo>
                  <a:cubicBezTo>
                    <a:pt x="873" y="279"/>
                    <a:pt x="865" y="260"/>
                    <a:pt x="852" y="246"/>
                  </a:cubicBezTo>
                  <a:close/>
                  <a:moveTo>
                    <a:pt x="852" y="246"/>
                  </a:moveTo>
                  <a:cubicBezTo>
                    <a:pt x="852" y="246"/>
                    <a:pt x="852" y="246"/>
                    <a:pt x="852" y="246"/>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o-RO"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 name="Freeform 60">
              <a:extLst>
                <a:ext uri="{FF2B5EF4-FFF2-40B4-BE49-F238E27FC236}">
                  <a16:creationId xmlns:a16="http://schemas.microsoft.com/office/drawing/2014/main" id="{D907E786-ABC8-A85E-A56E-D47CB5576DDF}"/>
                </a:ext>
              </a:extLst>
            </p:cNvPr>
            <p:cNvSpPr>
              <a:spLocks noEditPoints="1"/>
            </p:cNvSpPr>
            <p:nvPr/>
          </p:nvSpPr>
          <p:spPr bwMode="auto">
            <a:xfrm>
              <a:off x="14610619" y="3923090"/>
              <a:ext cx="58981" cy="221289"/>
            </a:xfrm>
            <a:custGeom>
              <a:avLst/>
              <a:gdLst>
                <a:gd name="T0" fmla="*/ 66 w 219"/>
                <a:gd name="T1" fmla="*/ 739 h 792"/>
                <a:gd name="T2" fmla="*/ 55 w 219"/>
                <a:gd name="T3" fmla="*/ 655 h 792"/>
                <a:gd name="T4" fmla="*/ 160 w 219"/>
                <a:gd name="T5" fmla="*/ 467 h 792"/>
                <a:gd name="T6" fmla="*/ 219 w 219"/>
                <a:gd name="T7" fmla="*/ 382 h 792"/>
                <a:gd name="T8" fmla="*/ 219 w 219"/>
                <a:gd name="T9" fmla="*/ 27 h 792"/>
                <a:gd name="T10" fmla="*/ 192 w 219"/>
                <a:gd name="T11" fmla="*/ 0 h 792"/>
                <a:gd name="T12" fmla="*/ 164 w 219"/>
                <a:gd name="T13" fmla="*/ 27 h 792"/>
                <a:gd name="T14" fmla="*/ 164 w 219"/>
                <a:gd name="T15" fmla="*/ 382 h 792"/>
                <a:gd name="T16" fmla="*/ 123 w 219"/>
                <a:gd name="T17" fmla="*/ 427 h 792"/>
                <a:gd name="T18" fmla="*/ 0 w 219"/>
                <a:gd name="T19" fmla="*/ 655 h 792"/>
                <a:gd name="T20" fmla="*/ 55 w 219"/>
                <a:gd name="T21" fmla="*/ 792 h 792"/>
                <a:gd name="T22" fmla="*/ 82 w 219"/>
                <a:gd name="T23" fmla="*/ 764 h 792"/>
                <a:gd name="T24" fmla="*/ 66 w 219"/>
                <a:gd name="T25" fmla="*/ 739 h 792"/>
                <a:gd name="T26" fmla="*/ 66 w 219"/>
                <a:gd name="T27" fmla="*/ 739 h 792"/>
                <a:gd name="T28" fmla="*/ 66 w 219"/>
                <a:gd name="T29" fmla="*/ 739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792">
                  <a:moveTo>
                    <a:pt x="66" y="739"/>
                  </a:moveTo>
                  <a:cubicBezTo>
                    <a:pt x="63" y="734"/>
                    <a:pt x="55" y="714"/>
                    <a:pt x="55" y="655"/>
                  </a:cubicBezTo>
                  <a:cubicBezTo>
                    <a:pt x="55" y="563"/>
                    <a:pt x="113" y="510"/>
                    <a:pt x="160" y="467"/>
                  </a:cubicBezTo>
                  <a:cubicBezTo>
                    <a:pt x="193" y="438"/>
                    <a:pt x="219" y="414"/>
                    <a:pt x="219" y="382"/>
                  </a:cubicBezTo>
                  <a:cubicBezTo>
                    <a:pt x="219" y="27"/>
                    <a:pt x="219" y="27"/>
                    <a:pt x="219" y="27"/>
                  </a:cubicBezTo>
                  <a:cubicBezTo>
                    <a:pt x="219" y="12"/>
                    <a:pt x="207" y="0"/>
                    <a:pt x="192" y="0"/>
                  </a:cubicBezTo>
                  <a:cubicBezTo>
                    <a:pt x="176" y="0"/>
                    <a:pt x="164" y="12"/>
                    <a:pt x="164" y="27"/>
                  </a:cubicBezTo>
                  <a:cubicBezTo>
                    <a:pt x="164" y="382"/>
                    <a:pt x="164" y="382"/>
                    <a:pt x="164" y="382"/>
                  </a:cubicBezTo>
                  <a:cubicBezTo>
                    <a:pt x="164" y="390"/>
                    <a:pt x="140" y="412"/>
                    <a:pt x="123" y="427"/>
                  </a:cubicBezTo>
                  <a:cubicBezTo>
                    <a:pt x="74" y="472"/>
                    <a:pt x="0" y="539"/>
                    <a:pt x="0" y="655"/>
                  </a:cubicBezTo>
                  <a:cubicBezTo>
                    <a:pt x="0" y="768"/>
                    <a:pt x="30" y="792"/>
                    <a:pt x="55" y="792"/>
                  </a:cubicBezTo>
                  <a:cubicBezTo>
                    <a:pt x="70" y="792"/>
                    <a:pt x="82" y="779"/>
                    <a:pt x="82" y="764"/>
                  </a:cubicBezTo>
                  <a:cubicBezTo>
                    <a:pt x="82" y="753"/>
                    <a:pt x="76" y="744"/>
                    <a:pt x="66" y="739"/>
                  </a:cubicBezTo>
                  <a:close/>
                  <a:moveTo>
                    <a:pt x="66" y="739"/>
                  </a:moveTo>
                  <a:cubicBezTo>
                    <a:pt x="66" y="739"/>
                    <a:pt x="66" y="739"/>
                    <a:pt x="66" y="739"/>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o-RO"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 name="Freeform 61">
              <a:extLst>
                <a:ext uri="{FF2B5EF4-FFF2-40B4-BE49-F238E27FC236}">
                  <a16:creationId xmlns:a16="http://schemas.microsoft.com/office/drawing/2014/main" id="{B8358D22-5E65-0BDD-07C8-85AC7183170E}"/>
                </a:ext>
              </a:extLst>
            </p:cNvPr>
            <p:cNvSpPr>
              <a:spLocks noEditPoints="1"/>
            </p:cNvSpPr>
            <p:nvPr/>
          </p:nvSpPr>
          <p:spPr bwMode="auto">
            <a:xfrm>
              <a:off x="14639508" y="3946711"/>
              <a:ext cx="162498" cy="242423"/>
            </a:xfrm>
            <a:custGeom>
              <a:avLst/>
              <a:gdLst>
                <a:gd name="T0" fmla="*/ 600 w 600"/>
                <a:gd name="T1" fmla="*/ 355 h 873"/>
                <a:gd name="T2" fmla="*/ 573 w 600"/>
                <a:gd name="T3" fmla="*/ 327 h 873"/>
                <a:gd name="T4" fmla="*/ 441 w 600"/>
                <a:gd name="T5" fmla="*/ 327 h 873"/>
                <a:gd name="T6" fmla="*/ 437 w 600"/>
                <a:gd name="T7" fmla="*/ 300 h 873"/>
                <a:gd name="T8" fmla="*/ 437 w 600"/>
                <a:gd name="T9" fmla="*/ 27 h 873"/>
                <a:gd name="T10" fmla="*/ 409 w 600"/>
                <a:gd name="T11" fmla="*/ 0 h 873"/>
                <a:gd name="T12" fmla="*/ 382 w 600"/>
                <a:gd name="T13" fmla="*/ 27 h 873"/>
                <a:gd name="T14" fmla="*/ 382 w 600"/>
                <a:gd name="T15" fmla="*/ 300 h 873"/>
                <a:gd name="T16" fmla="*/ 406 w 600"/>
                <a:gd name="T17" fmla="*/ 407 h 873"/>
                <a:gd name="T18" fmla="*/ 437 w 600"/>
                <a:gd name="T19" fmla="*/ 546 h 873"/>
                <a:gd name="T20" fmla="*/ 437 w 600"/>
                <a:gd name="T21" fmla="*/ 791 h 873"/>
                <a:gd name="T22" fmla="*/ 409 w 600"/>
                <a:gd name="T23" fmla="*/ 819 h 873"/>
                <a:gd name="T24" fmla="*/ 382 w 600"/>
                <a:gd name="T25" fmla="*/ 791 h 873"/>
                <a:gd name="T26" fmla="*/ 355 w 600"/>
                <a:gd name="T27" fmla="*/ 764 h 873"/>
                <a:gd name="T28" fmla="*/ 327 w 600"/>
                <a:gd name="T29" fmla="*/ 791 h 873"/>
                <a:gd name="T30" fmla="*/ 300 w 600"/>
                <a:gd name="T31" fmla="*/ 819 h 873"/>
                <a:gd name="T32" fmla="*/ 273 w 600"/>
                <a:gd name="T33" fmla="*/ 791 h 873"/>
                <a:gd name="T34" fmla="*/ 245 w 600"/>
                <a:gd name="T35" fmla="*/ 764 h 873"/>
                <a:gd name="T36" fmla="*/ 218 w 600"/>
                <a:gd name="T37" fmla="*/ 791 h 873"/>
                <a:gd name="T38" fmla="*/ 191 w 600"/>
                <a:gd name="T39" fmla="*/ 819 h 873"/>
                <a:gd name="T40" fmla="*/ 164 w 600"/>
                <a:gd name="T41" fmla="*/ 791 h 873"/>
                <a:gd name="T42" fmla="*/ 136 w 600"/>
                <a:gd name="T43" fmla="*/ 764 h 873"/>
                <a:gd name="T44" fmla="*/ 109 w 600"/>
                <a:gd name="T45" fmla="*/ 791 h 873"/>
                <a:gd name="T46" fmla="*/ 82 w 600"/>
                <a:gd name="T47" fmla="*/ 819 h 873"/>
                <a:gd name="T48" fmla="*/ 54 w 600"/>
                <a:gd name="T49" fmla="*/ 791 h 873"/>
                <a:gd name="T50" fmla="*/ 54 w 600"/>
                <a:gd name="T51" fmla="*/ 573 h 873"/>
                <a:gd name="T52" fmla="*/ 27 w 600"/>
                <a:gd name="T53" fmla="*/ 546 h 873"/>
                <a:gd name="T54" fmla="*/ 0 w 600"/>
                <a:gd name="T55" fmla="*/ 573 h 873"/>
                <a:gd name="T56" fmla="*/ 0 w 600"/>
                <a:gd name="T57" fmla="*/ 791 h 873"/>
                <a:gd name="T58" fmla="*/ 82 w 600"/>
                <a:gd name="T59" fmla="*/ 873 h 873"/>
                <a:gd name="T60" fmla="*/ 136 w 600"/>
                <a:gd name="T61" fmla="*/ 852 h 873"/>
                <a:gd name="T62" fmla="*/ 191 w 600"/>
                <a:gd name="T63" fmla="*/ 873 h 873"/>
                <a:gd name="T64" fmla="*/ 245 w 600"/>
                <a:gd name="T65" fmla="*/ 852 h 873"/>
                <a:gd name="T66" fmla="*/ 300 w 600"/>
                <a:gd name="T67" fmla="*/ 873 h 873"/>
                <a:gd name="T68" fmla="*/ 355 w 600"/>
                <a:gd name="T69" fmla="*/ 852 h 873"/>
                <a:gd name="T70" fmla="*/ 409 w 600"/>
                <a:gd name="T71" fmla="*/ 873 h 873"/>
                <a:gd name="T72" fmla="*/ 491 w 600"/>
                <a:gd name="T73" fmla="*/ 791 h 873"/>
                <a:gd name="T74" fmla="*/ 491 w 600"/>
                <a:gd name="T75" fmla="*/ 710 h 873"/>
                <a:gd name="T76" fmla="*/ 573 w 600"/>
                <a:gd name="T77" fmla="*/ 710 h 873"/>
                <a:gd name="T78" fmla="*/ 600 w 600"/>
                <a:gd name="T79" fmla="*/ 682 h 873"/>
                <a:gd name="T80" fmla="*/ 573 w 600"/>
                <a:gd name="T81" fmla="*/ 655 h 873"/>
                <a:gd name="T82" fmla="*/ 491 w 600"/>
                <a:gd name="T83" fmla="*/ 655 h 873"/>
                <a:gd name="T84" fmla="*/ 491 w 600"/>
                <a:gd name="T85" fmla="*/ 546 h 873"/>
                <a:gd name="T86" fmla="*/ 459 w 600"/>
                <a:gd name="T87" fmla="*/ 391 h 873"/>
                <a:gd name="T88" fmla="*/ 456 w 600"/>
                <a:gd name="T89" fmla="*/ 382 h 873"/>
                <a:gd name="T90" fmla="*/ 573 w 600"/>
                <a:gd name="T91" fmla="*/ 382 h 873"/>
                <a:gd name="T92" fmla="*/ 600 w 600"/>
                <a:gd name="T93" fmla="*/ 355 h 873"/>
                <a:gd name="T94" fmla="*/ 600 w 600"/>
                <a:gd name="T95" fmla="*/ 355 h 873"/>
                <a:gd name="T96" fmla="*/ 600 w 600"/>
                <a:gd name="T97" fmla="*/ 35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0" h="873">
                  <a:moveTo>
                    <a:pt x="600" y="355"/>
                  </a:moveTo>
                  <a:cubicBezTo>
                    <a:pt x="600" y="340"/>
                    <a:pt x="588" y="327"/>
                    <a:pt x="573" y="327"/>
                  </a:cubicBezTo>
                  <a:cubicBezTo>
                    <a:pt x="441" y="327"/>
                    <a:pt x="441" y="327"/>
                    <a:pt x="441" y="327"/>
                  </a:cubicBezTo>
                  <a:cubicBezTo>
                    <a:pt x="438" y="317"/>
                    <a:pt x="437" y="307"/>
                    <a:pt x="437" y="300"/>
                  </a:cubicBezTo>
                  <a:cubicBezTo>
                    <a:pt x="437" y="27"/>
                    <a:pt x="437" y="27"/>
                    <a:pt x="437" y="27"/>
                  </a:cubicBezTo>
                  <a:cubicBezTo>
                    <a:pt x="437" y="12"/>
                    <a:pt x="424" y="0"/>
                    <a:pt x="409" y="0"/>
                  </a:cubicBezTo>
                  <a:cubicBezTo>
                    <a:pt x="394" y="0"/>
                    <a:pt x="382" y="12"/>
                    <a:pt x="382" y="27"/>
                  </a:cubicBezTo>
                  <a:cubicBezTo>
                    <a:pt x="382" y="300"/>
                    <a:pt x="382" y="300"/>
                    <a:pt x="382" y="300"/>
                  </a:cubicBezTo>
                  <a:cubicBezTo>
                    <a:pt x="382" y="329"/>
                    <a:pt x="393" y="365"/>
                    <a:pt x="406" y="407"/>
                  </a:cubicBezTo>
                  <a:cubicBezTo>
                    <a:pt x="420" y="453"/>
                    <a:pt x="437" y="505"/>
                    <a:pt x="437" y="546"/>
                  </a:cubicBezTo>
                  <a:cubicBezTo>
                    <a:pt x="437" y="791"/>
                    <a:pt x="437" y="791"/>
                    <a:pt x="437" y="791"/>
                  </a:cubicBezTo>
                  <a:cubicBezTo>
                    <a:pt x="437" y="807"/>
                    <a:pt x="424" y="819"/>
                    <a:pt x="409" y="819"/>
                  </a:cubicBezTo>
                  <a:cubicBezTo>
                    <a:pt x="394" y="819"/>
                    <a:pt x="382" y="807"/>
                    <a:pt x="382" y="791"/>
                  </a:cubicBezTo>
                  <a:cubicBezTo>
                    <a:pt x="382" y="776"/>
                    <a:pt x="370" y="764"/>
                    <a:pt x="355" y="764"/>
                  </a:cubicBezTo>
                  <a:cubicBezTo>
                    <a:pt x="340" y="764"/>
                    <a:pt x="327" y="776"/>
                    <a:pt x="327" y="791"/>
                  </a:cubicBezTo>
                  <a:cubicBezTo>
                    <a:pt x="327" y="807"/>
                    <a:pt x="315" y="819"/>
                    <a:pt x="300" y="819"/>
                  </a:cubicBezTo>
                  <a:cubicBezTo>
                    <a:pt x="285" y="819"/>
                    <a:pt x="273" y="807"/>
                    <a:pt x="273" y="791"/>
                  </a:cubicBezTo>
                  <a:cubicBezTo>
                    <a:pt x="273" y="776"/>
                    <a:pt x="261" y="764"/>
                    <a:pt x="245" y="764"/>
                  </a:cubicBezTo>
                  <a:cubicBezTo>
                    <a:pt x="230" y="764"/>
                    <a:pt x="218" y="776"/>
                    <a:pt x="218" y="791"/>
                  </a:cubicBezTo>
                  <a:cubicBezTo>
                    <a:pt x="218" y="807"/>
                    <a:pt x="206" y="819"/>
                    <a:pt x="191" y="819"/>
                  </a:cubicBezTo>
                  <a:cubicBezTo>
                    <a:pt x="176" y="819"/>
                    <a:pt x="164" y="807"/>
                    <a:pt x="164" y="791"/>
                  </a:cubicBezTo>
                  <a:cubicBezTo>
                    <a:pt x="164" y="776"/>
                    <a:pt x="151" y="764"/>
                    <a:pt x="136" y="764"/>
                  </a:cubicBezTo>
                  <a:cubicBezTo>
                    <a:pt x="121" y="764"/>
                    <a:pt x="109" y="776"/>
                    <a:pt x="109" y="791"/>
                  </a:cubicBezTo>
                  <a:cubicBezTo>
                    <a:pt x="109" y="807"/>
                    <a:pt x="97" y="819"/>
                    <a:pt x="82" y="819"/>
                  </a:cubicBezTo>
                  <a:cubicBezTo>
                    <a:pt x="67" y="819"/>
                    <a:pt x="54" y="807"/>
                    <a:pt x="54" y="791"/>
                  </a:cubicBezTo>
                  <a:cubicBezTo>
                    <a:pt x="54" y="573"/>
                    <a:pt x="54" y="573"/>
                    <a:pt x="54" y="573"/>
                  </a:cubicBezTo>
                  <a:cubicBezTo>
                    <a:pt x="54" y="558"/>
                    <a:pt x="42" y="546"/>
                    <a:pt x="27" y="546"/>
                  </a:cubicBezTo>
                  <a:cubicBezTo>
                    <a:pt x="12" y="546"/>
                    <a:pt x="0" y="558"/>
                    <a:pt x="0" y="573"/>
                  </a:cubicBezTo>
                  <a:cubicBezTo>
                    <a:pt x="0" y="791"/>
                    <a:pt x="0" y="791"/>
                    <a:pt x="0" y="791"/>
                  </a:cubicBezTo>
                  <a:cubicBezTo>
                    <a:pt x="0" y="837"/>
                    <a:pt x="36" y="873"/>
                    <a:pt x="82" y="873"/>
                  </a:cubicBezTo>
                  <a:cubicBezTo>
                    <a:pt x="103" y="873"/>
                    <a:pt x="122" y="865"/>
                    <a:pt x="136" y="852"/>
                  </a:cubicBezTo>
                  <a:cubicBezTo>
                    <a:pt x="151" y="865"/>
                    <a:pt x="170" y="873"/>
                    <a:pt x="191" y="873"/>
                  </a:cubicBezTo>
                  <a:cubicBezTo>
                    <a:pt x="212" y="873"/>
                    <a:pt x="231" y="865"/>
                    <a:pt x="245" y="852"/>
                  </a:cubicBezTo>
                  <a:cubicBezTo>
                    <a:pt x="260" y="865"/>
                    <a:pt x="279" y="873"/>
                    <a:pt x="300" y="873"/>
                  </a:cubicBezTo>
                  <a:cubicBezTo>
                    <a:pt x="321" y="873"/>
                    <a:pt x="340" y="865"/>
                    <a:pt x="355" y="852"/>
                  </a:cubicBezTo>
                  <a:cubicBezTo>
                    <a:pt x="369" y="865"/>
                    <a:pt x="388" y="873"/>
                    <a:pt x="409" y="873"/>
                  </a:cubicBezTo>
                  <a:cubicBezTo>
                    <a:pt x="454" y="873"/>
                    <a:pt x="491" y="837"/>
                    <a:pt x="491" y="791"/>
                  </a:cubicBezTo>
                  <a:cubicBezTo>
                    <a:pt x="491" y="710"/>
                    <a:pt x="491" y="710"/>
                    <a:pt x="491" y="710"/>
                  </a:cubicBezTo>
                  <a:cubicBezTo>
                    <a:pt x="573" y="710"/>
                    <a:pt x="573" y="710"/>
                    <a:pt x="573" y="710"/>
                  </a:cubicBezTo>
                  <a:cubicBezTo>
                    <a:pt x="588" y="710"/>
                    <a:pt x="600" y="697"/>
                    <a:pt x="600" y="682"/>
                  </a:cubicBezTo>
                  <a:cubicBezTo>
                    <a:pt x="600" y="667"/>
                    <a:pt x="588" y="655"/>
                    <a:pt x="573" y="655"/>
                  </a:cubicBezTo>
                  <a:cubicBezTo>
                    <a:pt x="491" y="655"/>
                    <a:pt x="491" y="655"/>
                    <a:pt x="491" y="655"/>
                  </a:cubicBezTo>
                  <a:cubicBezTo>
                    <a:pt x="491" y="546"/>
                    <a:pt x="491" y="546"/>
                    <a:pt x="491" y="546"/>
                  </a:cubicBezTo>
                  <a:cubicBezTo>
                    <a:pt x="491" y="496"/>
                    <a:pt x="474" y="441"/>
                    <a:pt x="459" y="391"/>
                  </a:cubicBezTo>
                  <a:cubicBezTo>
                    <a:pt x="458" y="388"/>
                    <a:pt x="457" y="385"/>
                    <a:pt x="456" y="382"/>
                  </a:cubicBezTo>
                  <a:cubicBezTo>
                    <a:pt x="573" y="382"/>
                    <a:pt x="573" y="382"/>
                    <a:pt x="573" y="382"/>
                  </a:cubicBezTo>
                  <a:cubicBezTo>
                    <a:pt x="588" y="382"/>
                    <a:pt x="600" y="370"/>
                    <a:pt x="600" y="355"/>
                  </a:cubicBezTo>
                  <a:close/>
                  <a:moveTo>
                    <a:pt x="600" y="355"/>
                  </a:moveTo>
                  <a:cubicBezTo>
                    <a:pt x="600" y="355"/>
                    <a:pt x="600" y="355"/>
                    <a:pt x="600" y="35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o-RO"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4" name="Group 43">
            <a:extLst>
              <a:ext uri="{FF2B5EF4-FFF2-40B4-BE49-F238E27FC236}">
                <a16:creationId xmlns:a16="http://schemas.microsoft.com/office/drawing/2014/main" id="{E219B88F-ABAB-4CEB-D226-5A7C4C82C223}"/>
              </a:ext>
            </a:extLst>
          </p:cNvPr>
          <p:cNvGrpSpPr/>
          <p:nvPr/>
        </p:nvGrpSpPr>
        <p:grpSpPr>
          <a:xfrm>
            <a:off x="9252373" y="2691831"/>
            <a:ext cx="1998341" cy="1998341"/>
            <a:chOff x="9283032" y="2334214"/>
            <a:chExt cx="1998341" cy="1998341"/>
          </a:xfrm>
        </p:grpSpPr>
        <p:sp>
          <p:nvSpPr>
            <p:cNvPr id="43" name="Oval 42">
              <a:extLst>
                <a:ext uri="{FF2B5EF4-FFF2-40B4-BE49-F238E27FC236}">
                  <a16:creationId xmlns:a16="http://schemas.microsoft.com/office/drawing/2014/main" id="{9AF8EF42-7C5A-92B8-C169-80DD9FF6151F}"/>
                </a:ext>
              </a:extLst>
            </p:cNvPr>
            <p:cNvSpPr/>
            <p:nvPr/>
          </p:nvSpPr>
          <p:spPr>
            <a:xfrm>
              <a:off x="9283032" y="2334214"/>
              <a:ext cx="1998341" cy="1998341"/>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4" name="Graphic 23">
              <a:extLst>
                <a:ext uri="{FF2B5EF4-FFF2-40B4-BE49-F238E27FC236}">
                  <a16:creationId xmlns:a16="http://schemas.microsoft.com/office/drawing/2014/main" id="{B31FF051-AB59-9396-FE2F-C786E9234887}"/>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07061" y="2758243"/>
              <a:ext cx="1150282" cy="1150282"/>
            </a:xfrm>
            <a:prstGeom prst="rect">
              <a:avLst/>
            </a:prstGeom>
          </p:spPr>
        </p:pic>
      </p:grpSp>
      <p:grpSp>
        <p:nvGrpSpPr>
          <p:cNvPr id="45" name="Group 44">
            <a:extLst>
              <a:ext uri="{FF2B5EF4-FFF2-40B4-BE49-F238E27FC236}">
                <a16:creationId xmlns:a16="http://schemas.microsoft.com/office/drawing/2014/main" id="{A14555A4-6413-3274-FD98-636AB1525B93}"/>
              </a:ext>
            </a:extLst>
          </p:cNvPr>
          <p:cNvGrpSpPr/>
          <p:nvPr/>
        </p:nvGrpSpPr>
        <p:grpSpPr>
          <a:xfrm>
            <a:off x="876049" y="2691831"/>
            <a:ext cx="1998341" cy="1998341"/>
            <a:chOff x="967653" y="2334214"/>
            <a:chExt cx="1998341" cy="1998341"/>
          </a:xfrm>
        </p:grpSpPr>
        <p:sp>
          <p:nvSpPr>
            <p:cNvPr id="40" name="Oval 39">
              <a:extLst>
                <a:ext uri="{FF2B5EF4-FFF2-40B4-BE49-F238E27FC236}">
                  <a16:creationId xmlns:a16="http://schemas.microsoft.com/office/drawing/2014/main" id="{DD75FAFD-B417-1E09-4675-6CF0DFFE06D3}"/>
                </a:ext>
              </a:extLst>
            </p:cNvPr>
            <p:cNvSpPr/>
            <p:nvPr/>
          </p:nvSpPr>
          <p:spPr>
            <a:xfrm>
              <a:off x="967653" y="2334214"/>
              <a:ext cx="1998341" cy="1998341"/>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Graphic 24">
              <a:extLst>
                <a:ext uri="{FF2B5EF4-FFF2-40B4-BE49-F238E27FC236}">
                  <a16:creationId xmlns:a16="http://schemas.microsoft.com/office/drawing/2014/main" id="{3B20CC06-01B6-1979-B09E-11C3E580D2D7}"/>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370847" y="2737412"/>
              <a:ext cx="1191952" cy="1191944"/>
            </a:xfrm>
            <a:prstGeom prst="rect">
              <a:avLst/>
            </a:prstGeom>
          </p:spPr>
        </p:pic>
      </p:grpSp>
      <p:grpSp>
        <p:nvGrpSpPr>
          <p:cNvPr id="46" name="Group 45">
            <a:extLst>
              <a:ext uri="{FF2B5EF4-FFF2-40B4-BE49-F238E27FC236}">
                <a16:creationId xmlns:a16="http://schemas.microsoft.com/office/drawing/2014/main" id="{F5E6997A-E5D0-16D2-02F7-395E89A9C953}"/>
              </a:ext>
            </a:extLst>
          </p:cNvPr>
          <p:cNvGrpSpPr/>
          <p:nvPr/>
        </p:nvGrpSpPr>
        <p:grpSpPr>
          <a:xfrm>
            <a:off x="3667137" y="2691831"/>
            <a:ext cx="1998341" cy="1998341"/>
            <a:chOff x="3739446" y="2334214"/>
            <a:chExt cx="1998341" cy="1998341"/>
          </a:xfrm>
        </p:grpSpPr>
        <p:sp>
          <p:nvSpPr>
            <p:cNvPr id="41" name="Oval 40">
              <a:extLst>
                <a:ext uri="{FF2B5EF4-FFF2-40B4-BE49-F238E27FC236}">
                  <a16:creationId xmlns:a16="http://schemas.microsoft.com/office/drawing/2014/main" id="{A90F43B8-7A8A-12EE-8032-867F0D3E1B7A}"/>
                </a:ext>
              </a:extLst>
            </p:cNvPr>
            <p:cNvSpPr/>
            <p:nvPr/>
          </p:nvSpPr>
          <p:spPr>
            <a:xfrm>
              <a:off x="3739446" y="2334214"/>
              <a:ext cx="1998341" cy="1998341"/>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6" name="Group 25">
              <a:extLst>
                <a:ext uri="{FF2B5EF4-FFF2-40B4-BE49-F238E27FC236}">
                  <a16:creationId xmlns:a16="http://schemas.microsoft.com/office/drawing/2014/main" id="{31713A9E-E76A-DA7C-B844-CF7CFB794588}"/>
                </a:ext>
              </a:extLst>
            </p:cNvPr>
            <p:cNvGrpSpPr/>
            <p:nvPr/>
          </p:nvGrpSpPr>
          <p:grpSpPr>
            <a:xfrm>
              <a:off x="4315859" y="2787547"/>
              <a:ext cx="845514" cy="1091674"/>
              <a:chOff x="11361016" y="3705416"/>
              <a:chExt cx="376442" cy="486038"/>
            </a:xfrm>
            <a:solidFill>
              <a:schemeClr val="bg1"/>
            </a:solidFill>
          </p:grpSpPr>
          <p:sp>
            <p:nvSpPr>
              <p:cNvPr id="27" name="Freeform: Shape 152">
                <a:extLst>
                  <a:ext uri="{FF2B5EF4-FFF2-40B4-BE49-F238E27FC236}">
                    <a16:creationId xmlns:a16="http://schemas.microsoft.com/office/drawing/2014/main" id="{4D00AFE4-26E2-E00B-B16E-9BE5D49AB8B8}"/>
                  </a:ext>
                </a:extLst>
              </p:cNvPr>
              <p:cNvSpPr/>
              <p:nvPr/>
            </p:nvSpPr>
            <p:spPr>
              <a:xfrm>
                <a:off x="11361016" y="3705416"/>
                <a:ext cx="376442" cy="486038"/>
              </a:xfrm>
              <a:custGeom>
                <a:avLst/>
                <a:gdLst>
                  <a:gd name="connsiteX0" fmla="*/ 51034 w 408279"/>
                  <a:gd name="connsiteY0" fmla="*/ 510393 h 510392"/>
                  <a:gd name="connsiteX1" fmla="*/ 357242 w 408279"/>
                  <a:gd name="connsiteY1" fmla="*/ 510393 h 510392"/>
                  <a:gd name="connsiteX2" fmla="*/ 408280 w 408279"/>
                  <a:gd name="connsiteY2" fmla="*/ 459359 h 510392"/>
                  <a:gd name="connsiteX3" fmla="*/ 408280 w 408279"/>
                  <a:gd name="connsiteY3" fmla="*/ 102114 h 510392"/>
                  <a:gd name="connsiteX4" fmla="*/ 357242 w 408279"/>
                  <a:gd name="connsiteY4" fmla="*/ 51081 h 510392"/>
                  <a:gd name="connsiteX5" fmla="*/ 299573 w 408279"/>
                  <a:gd name="connsiteY5" fmla="*/ 51081 h 510392"/>
                  <a:gd name="connsiteX6" fmla="*/ 280693 w 408279"/>
                  <a:gd name="connsiteY6" fmla="*/ 42577 h 510392"/>
                  <a:gd name="connsiteX7" fmla="*/ 254469 w 408279"/>
                  <a:gd name="connsiteY7" fmla="*/ 42577 h 510392"/>
                  <a:gd name="connsiteX8" fmla="*/ 204140 w 408279"/>
                  <a:gd name="connsiteY8" fmla="*/ 0 h 510392"/>
                  <a:gd name="connsiteX9" fmla="*/ 153811 w 408279"/>
                  <a:gd name="connsiteY9" fmla="*/ 42577 h 510392"/>
                  <a:gd name="connsiteX10" fmla="*/ 127587 w 408279"/>
                  <a:gd name="connsiteY10" fmla="*/ 42577 h 510392"/>
                  <a:gd name="connsiteX11" fmla="*/ 108703 w 408279"/>
                  <a:gd name="connsiteY11" fmla="*/ 51081 h 510392"/>
                  <a:gd name="connsiteX12" fmla="*/ 51034 w 408279"/>
                  <a:gd name="connsiteY12" fmla="*/ 51081 h 510392"/>
                  <a:gd name="connsiteX13" fmla="*/ 0 w 408279"/>
                  <a:gd name="connsiteY13" fmla="*/ 102114 h 510392"/>
                  <a:gd name="connsiteX14" fmla="*/ 0 w 408279"/>
                  <a:gd name="connsiteY14" fmla="*/ 459359 h 510392"/>
                  <a:gd name="connsiteX15" fmla="*/ 51034 w 408279"/>
                  <a:gd name="connsiteY15" fmla="*/ 510393 h 510392"/>
                  <a:gd name="connsiteX16" fmla="*/ 357242 w 408279"/>
                  <a:gd name="connsiteY16" fmla="*/ 382806 h 510392"/>
                  <a:gd name="connsiteX17" fmla="*/ 297704 w 408279"/>
                  <a:gd name="connsiteY17" fmla="*/ 382806 h 510392"/>
                  <a:gd name="connsiteX18" fmla="*/ 280693 w 408279"/>
                  <a:gd name="connsiteY18" fmla="*/ 399817 h 510392"/>
                  <a:gd name="connsiteX19" fmla="*/ 280693 w 408279"/>
                  <a:gd name="connsiteY19" fmla="*/ 459359 h 510392"/>
                  <a:gd name="connsiteX20" fmla="*/ 59542 w 408279"/>
                  <a:gd name="connsiteY20" fmla="*/ 459359 h 510392"/>
                  <a:gd name="connsiteX21" fmla="*/ 51034 w 408279"/>
                  <a:gd name="connsiteY21" fmla="*/ 450852 h 510392"/>
                  <a:gd name="connsiteX22" fmla="*/ 51034 w 408279"/>
                  <a:gd name="connsiteY22" fmla="*/ 110621 h 510392"/>
                  <a:gd name="connsiteX23" fmla="*/ 59542 w 408279"/>
                  <a:gd name="connsiteY23" fmla="*/ 102114 h 510392"/>
                  <a:gd name="connsiteX24" fmla="*/ 102068 w 408279"/>
                  <a:gd name="connsiteY24" fmla="*/ 102114 h 510392"/>
                  <a:gd name="connsiteX25" fmla="*/ 127587 w 408279"/>
                  <a:gd name="connsiteY25" fmla="*/ 127633 h 510392"/>
                  <a:gd name="connsiteX26" fmla="*/ 280693 w 408279"/>
                  <a:gd name="connsiteY26" fmla="*/ 127633 h 510392"/>
                  <a:gd name="connsiteX27" fmla="*/ 306208 w 408279"/>
                  <a:gd name="connsiteY27" fmla="*/ 102114 h 510392"/>
                  <a:gd name="connsiteX28" fmla="*/ 348739 w 408279"/>
                  <a:gd name="connsiteY28" fmla="*/ 102114 h 510392"/>
                  <a:gd name="connsiteX29" fmla="*/ 357242 w 408279"/>
                  <a:gd name="connsiteY29" fmla="*/ 110621 h 510392"/>
                  <a:gd name="connsiteX30" fmla="*/ 345214 w 408279"/>
                  <a:gd name="connsiteY30" fmla="*/ 399817 h 510392"/>
                  <a:gd name="connsiteX31" fmla="*/ 297704 w 408279"/>
                  <a:gd name="connsiteY31" fmla="*/ 447331 h 510392"/>
                  <a:gd name="connsiteX32" fmla="*/ 297704 w 408279"/>
                  <a:gd name="connsiteY32" fmla="*/ 399817 h 510392"/>
                  <a:gd name="connsiteX33" fmla="*/ 127587 w 408279"/>
                  <a:gd name="connsiteY33" fmla="*/ 59588 h 510392"/>
                  <a:gd name="connsiteX34" fmla="*/ 161609 w 408279"/>
                  <a:gd name="connsiteY34" fmla="*/ 59588 h 510392"/>
                  <a:gd name="connsiteX35" fmla="*/ 170117 w 408279"/>
                  <a:gd name="connsiteY35" fmla="*/ 51081 h 510392"/>
                  <a:gd name="connsiteX36" fmla="*/ 204140 w 408279"/>
                  <a:gd name="connsiteY36" fmla="*/ 17058 h 510392"/>
                  <a:gd name="connsiteX37" fmla="*/ 238163 w 408279"/>
                  <a:gd name="connsiteY37" fmla="*/ 51081 h 510392"/>
                  <a:gd name="connsiteX38" fmla="*/ 246666 w 408279"/>
                  <a:gd name="connsiteY38" fmla="*/ 59588 h 510392"/>
                  <a:gd name="connsiteX39" fmla="*/ 280693 w 408279"/>
                  <a:gd name="connsiteY39" fmla="*/ 59588 h 510392"/>
                  <a:gd name="connsiteX40" fmla="*/ 289196 w 408279"/>
                  <a:gd name="connsiteY40" fmla="*/ 68092 h 510392"/>
                  <a:gd name="connsiteX41" fmla="*/ 289196 w 408279"/>
                  <a:gd name="connsiteY41" fmla="*/ 102114 h 510392"/>
                  <a:gd name="connsiteX42" fmla="*/ 280693 w 408279"/>
                  <a:gd name="connsiteY42" fmla="*/ 110621 h 510392"/>
                  <a:gd name="connsiteX43" fmla="*/ 127587 w 408279"/>
                  <a:gd name="connsiteY43" fmla="*/ 110621 h 510392"/>
                  <a:gd name="connsiteX44" fmla="*/ 119079 w 408279"/>
                  <a:gd name="connsiteY44" fmla="*/ 102114 h 510392"/>
                  <a:gd name="connsiteX45" fmla="*/ 119079 w 408279"/>
                  <a:gd name="connsiteY45" fmla="*/ 68092 h 510392"/>
                  <a:gd name="connsiteX46" fmla="*/ 127587 w 408279"/>
                  <a:gd name="connsiteY46" fmla="*/ 59588 h 510392"/>
                  <a:gd name="connsiteX47" fmla="*/ 17011 w 408279"/>
                  <a:gd name="connsiteY47" fmla="*/ 102114 h 510392"/>
                  <a:gd name="connsiteX48" fmla="*/ 51034 w 408279"/>
                  <a:gd name="connsiteY48" fmla="*/ 68092 h 510392"/>
                  <a:gd name="connsiteX49" fmla="*/ 102068 w 408279"/>
                  <a:gd name="connsiteY49" fmla="*/ 68092 h 510392"/>
                  <a:gd name="connsiteX50" fmla="*/ 102068 w 408279"/>
                  <a:gd name="connsiteY50" fmla="*/ 85103 h 510392"/>
                  <a:gd name="connsiteX51" fmla="*/ 59542 w 408279"/>
                  <a:gd name="connsiteY51" fmla="*/ 85103 h 510392"/>
                  <a:gd name="connsiteX52" fmla="*/ 34023 w 408279"/>
                  <a:gd name="connsiteY52" fmla="*/ 110621 h 510392"/>
                  <a:gd name="connsiteX53" fmla="*/ 34023 w 408279"/>
                  <a:gd name="connsiteY53" fmla="*/ 450852 h 510392"/>
                  <a:gd name="connsiteX54" fmla="*/ 59542 w 408279"/>
                  <a:gd name="connsiteY54" fmla="*/ 476370 h 510392"/>
                  <a:gd name="connsiteX55" fmla="*/ 282153 w 408279"/>
                  <a:gd name="connsiteY55" fmla="*/ 476370 h 510392"/>
                  <a:gd name="connsiteX56" fmla="*/ 292362 w 408279"/>
                  <a:gd name="connsiteY56" fmla="*/ 474193 h 510392"/>
                  <a:gd name="connsiteX57" fmla="*/ 292802 w 408279"/>
                  <a:gd name="connsiteY57" fmla="*/ 473964 h 510392"/>
                  <a:gd name="connsiteX58" fmla="*/ 300177 w 408279"/>
                  <a:gd name="connsiteY58" fmla="*/ 468859 h 510392"/>
                  <a:gd name="connsiteX59" fmla="*/ 366762 w 408279"/>
                  <a:gd name="connsiteY59" fmla="*/ 402274 h 510392"/>
                  <a:gd name="connsiteX60" fmla="*/ 371804 w 408279"/>
                  <a:gd name="connsiteY60" fmla="*/ 394943 h 510392"/>
                  <a:gd name="connsiteX61" fmla="*/ 372069 w 408279"/>
                  <a:gd name="connsiteY61" fmla="*/ 394441 h 510392"/>
                  <a:gd name="connsiteX62" fmla="*/ 374238 w 408279"/>
                  <a:gd name="connsiteY62" fmla="*/ 384235 h 510392"/>
                  <a:gd name="connsiteX63" fmla="*/ 374238 w 408279"/>
                  <a:gd name="connsiteY63" fmla="*/ 110621 h 510392"/>
                  <a:gd name="connsiteX64" fmla="*/ 348719 w 408279"/>
                  <a:gd name="connsiteY64" fmla="*/ 85103 h 510392"/>
                  <a:gd name="connsiteX65" fmla="*/ 306208 w 408279"/>
                  <a:gd name="connsiteY65" fmla="*/ 85103 h 510392"/>
                  <a:gd name="connsiteX66" fmla="*/ 306208 w 408279"/>
                  <a:gd name="connsiteY66" fmla="*/ 68092 h 510392"/>
                  <a:gd name="connsiteX67" fmla="*/ 357242 w 408279"/>
                  <a:gd name="connsiteY67" fmla="*/ 68092 h 510392"/>
                  <a:gd name="connsiteX68" fmla="*/ 391265 w 408279"/>
                  <a:gd name="connsiteY68" fmla="*/ 102114 h 510392"/>
                  <a:gd name="connsiteX69" fmla="*/ 391265 w 408279"/>
                  <a:gd name="connsiteY69" fmla="*/ 459359 h 510392"/>
                  <a:gd name="connsiteX70" fmla="*/ 357242 w 408279"/>
                  <a:gd name="connsiteY70" fmla="*/ 493381 h 510392"/>
                  <a:gd name="connsiteX71" fmla="*/ 51034 w 408279"/>
                  <a:gd name="connsiteY71" fmla="*/ 493381 h 510392"/>
                  <a:gd name="connsiteX72" fmla="*/ 17011 w 408279"/>
                  <a:gd name="connsiteY72" fmla="*/ 459359 h 51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08279" h="510392">
                    <a:moveTo>
                      <a:pt x="51034" y="510393"/>
                    </a:moveTo>
                    <a:lnTo>
                      <a:pt x="357242" y="510393"/>
                    </a:lnTo>
                    <a:cubicBezTo>
                      <a:pt x="385417" y="510366"/>
                      <a:pt x="408249" y="487533"/>
                      <a:pt x="408280" y="459359"/>
                    </a:cubicBezTo>
                    <a:lnTo>
                      <a:pt x="408280" y="102114"/>
                    </a:lnTo>
                    <a:cubicBezTo>
                      <a:pt x="408249" y="73940"/>
                      <a:pt x="385417" y="51108"/>
                      <a:pt x="357242" y="51081"/>
                    </a:cubicBezTo>
                    <a:lnTo>
                      <a:pt x="299573" y="51081"/>
                    </a:lnTo>
                    <a:cubicBezTo>
                      <a:pt x="294776" y="45692"/>
                      <a:pt x="287908" y="42596"/>
                      <a:pt x="280693" y="42577"/>
                    </a:cubicBezTo>
                    <a:lnTo>
                      <a:pt x="254469" y="42577"/>
                    </a:lnTo>
                    <a:cubicBezTo>
                      <a:pt x="250338" y="18000"/>
                      <a:pt x="229059" y="0"/>
                      <a:pt x="204140" y="0"/>
                    </a:cubicBezTo>
                    <a:cubicBezTo>
                      <a:pt x="179216" y="0"/>
                      <a:pt x="157942" y="18000"/>
                      <a:pt x="153811" y="42577"/>
                    </a:cubicBezTo>
                    <a:lnTo>
                      <a:pt x="127587" y="42577"/>
                    </a:lnTo>
                    <a:cubicBezTo>
                      <a:pt x="120368" y="42596"/>
                      <a:pt x="113504" y="45692"/>
                      <a:pt x="108703" y="51081"/>
                    </a:cubicBezTo>
                    <a:lnTo>
                      <a:pt x="51034" y="51081"/>
                    </a:lnTo>
                    <a:cubicBezTo>
                      <a:pt x="22860" y="51108"/>
                      <a:pt x="27" y="73940"/>
                      <a:pt x="0" y="102114"/>
                    </a:cubicBezTo>
                    <a:lnTo>
                      <a:pt x="0" y="459359"/>
                    </a:lnTo>
                    <a:cubicBezTo>
                      <a:pt x="27" y="487533"/>
                      <a:pt x="22860" y="510366"/>
                      <a:pt x="51034" y="510393"/>
                    </a:cubicBezTo>
                    <a:close/>
                    <a:moveTo>
                      <a:pt x="357242" y="382806"/>
                    </a:moveTo>
                    <a:lnTo>
                      <a:pt x="297704" y="382806"/>
                    </a:lnTo>
                    <a:cubicBezTo>
                      <a:pt x="288309" y="382806"/>
                      <a:pt x="280693" y="390423"/>
                      <a:pt x="280693" y="399817"/>
                    </a:cubicBezTo>
                    <a:lnTo>
                      <a:pt x="280693" y="459359"/>
                    </a:lnTo>
                    <a:lnTo>
                      <a:pt x="59542" y="459359"/>
                    </a:lnTo>
                    <a:cubicBezTo>
                      <a:pt x="54842" y="459359"/>
                      <a:pt x="51034" y="455551"/>
                      <a:pt x="51034" y="450852"/>
                    </a:cubicBezTo>
                    <a:lnTo>
                      <a:pt x="51034" y="110621"/>
                    </a:lnTo>
                    <a:cubicBezTo>
                      <a:pt x="51034" y="105923"/>
                      <a:pt x="54842" y="102114"/>
                      <a:pt x="59542" y="102114"/>
                    </a:cubicBezTo>
                    <a:lnTo>
                      <a:pt x="102068" y="102114"/>
                    </a:lnTo>
                    <a:cubicBezTo>
                      <a:pt x="102068" y="116209"/>
                      <a:pt x="113496" y="127633"/>
                      <a:pt x="127587" y="127633"/>
                    </a:cubicBezTo>
                    <a:lnTo>
                      <a:pt x="280693" y="127633"/>
                    </a:lnTo>
                    <a:cubicBezTo>
                      <a:pt x="294784" y="127633"/>
                      <a:pt x="306208" y="116209"/>
                      <a:pt x="306208" y="102114"/>
                    </a:cubicBezTo>
                    <a:lnTo>
                      <a:pt x="348739" y="102114"/>
                    </a:lnTo>
                    <a:cubicBezTo>
                      <a:pt x="353434" y="102114"/>
                      <a:pt x="357242" y="105923"/>
                      <a:pt x="357242" y="110621"/>
                    </a:cubicBezTo>
                    <a:close/>
                    <a:moveTo>
                      <a:pt x="345214" y="399817"/>
                    </a:moveTo>
                    <a:lnTo>
                      <a:pt x="297704" y="447331"/>
                    </a:lnTo>
                    <a:lnTo>
                      <a:pt x="297704" y="399817"/>
                    </a:lnTo>
                    <a:close/>
                    <a:moveTo>
                      <a:pt x="127587" y="59588"/>
                    </a:moveTo>
                    <a:lnTo>
                      <a:pt x="161609" y="59588"/>
                    </a:lnTo>
                    <a:cubicBezTo>
                      <a:pt x="166309" y="59588"/>
                      <a:pt x="170117" y="55780"/>
                      <a:pt x="170117" y="51081"/>
                    </a:cubicBezTo>
                    <a:cubicBezTo>
                      <a:pt x="170117" y="32290"/>
                      <a:pt x="185350" y="17058"/>
                      <a:pt x="204140" y="17058"/>
                    </a:cubicBezTo>
                    <a:cubicBezTo>
                      <a:pt x="222931" y="17058"/>
                      <a:pt x="238163" y="32290"/>
                      <a:pt x="238163" y="51081"/>
                    </a:cubicBezTo>
                    <a:cubicBezTo>
                      <a:pt x="238163" y="55780"/>
                      <a:pt x="241970" y="59588"/>
                      <a:pt x="246666" y="59588"/>
                    </a:cubicBezTo>
                    <a:lnTo>
                      <a:pt x="280693" y="59588"/>
                    </a:lnTo>
                    <a:cubicBezTo>
                      <a:pt x="285389" y="59588"/>
                      <a:pt x="289196" y="63396"/>
                      <a:pt x="289196" y="68092"/>
                    </a:cubicBezTo>
                    <a:lnTo>
                      <a:pt x="289196" y="102114"/>
                    </a:lnTo>
                    <a:cubicBezTo>
                      <a:pt x="289196" y="106814"/>
                      <a:pt x="285389" y="110621"/>
                      <a:pt x="280693" y="110621"/>
                    </a:cubicBezTo>
                    <a:lnTo>
                      <a:pt x="127587" y="110621"/>
                    </a:lnTo>
                    <a:cubicBezTo>
                      <a:pt x="122888" y="110621"/>
                      <a:pt x="119079" y="106814"/>
                      <a:pt x="119079" y="102114"/>
                    </a:cubicBezTo>
                    <a:lnTo>
                      <a:pt x="119079" y="68092"/>
                    </a:lnTo>
                    <a:cubicBezTo>
                      <a:pt x="119079" y="63396"/>
                      <a:pt x="122888" y="59588"/>
                      <a:pt x="127587" y="59588"/>
                    </a:cubicBezTo>
                    <a:close/>
                    <a:moveTo>
                      <a:pt x="17011" y="102114"/>
                    </a:moveTo>
                    <a:cubicBezTo>
                      <a:pt x="17011" y="83324"/>
                      <a:pt x="32243" y="68092"/>
                      <a:pt x="51034" y="68092"/>
                    </a:cubicBezTo>
                    <a:lnTo>
                      <a:pt x="102068" y="68092"/>
                    </a:lnTo>
                    <a:lnTo>
                      <a:pt x="102068" y="85103"/>
                    </a:lnTo>
                    <a:lnTo>
                      <a:pt x="59542" y="85103"/>
                    </a:lnTo>
                    <a:cubicBezTo>
                      <a:pt x="45447" y="85103"/>
                      <a:pt x="34023" y="96527"/>
                      <a:pt x="34023" y="110621"/>
                    </a:cubicBezTo>
                    <a:lnTo>
                      <a:pt x="34023" y="450852"/>
                    </a:lnTo>
                    <a:cubicBezTo>
                      <a:pt x="34023" y="464946"/>
                      <a:pt x="45447" y="476370"/>
                      <a:pt x="59542" y="476370"/>
                    </a:cubicBezTo>
                    <a:lnTo>
                      <a:pt x="282153" y="476370"/>
                    </a:lnTo>
                    <a:cubicBezTo>
                      <a:pt x="285669" y="476358"/>
                      <a:pt x="289146" y="475619"/>
                      <a:pt x="292362" y="474193"/>
                    </a:cubicBezTo>
                    <a:cubicBezTo>
                      <a:pt x="292522" y="474131"/>
                      <a:pt x="292650" y="474030"/>
                      <a:pt x="292802" y="473964"/>
                    </a:cubicBezTo>
                    <a:cubicBezTo>
                      <a:pt x="295543" y="472710"/>
                      <a:pt x="298039" y="470982"/>
                      <a:pt x="300177" y="468859"/>
                    </a:cubicBezTo>
                    <a:lnTo>
                      <a:pt x="366762" y="402274"/>
                    </a:lnTo>
                    <a:cubicBezTo>
                      <a:pt x="368861" y="400144"/>
                      <a:pt x="370566" y="397664"/>
                      <a:pt x="371804" y="394943"/>
                    </a:cubicBezTo>
                    <a:cubicBezTo>
                      <a:pt x="371890" y="394764"/>
                      <a:pt x="372002" y="394619"/>
                      <a:pt x="372069" y="394441"/>
                    </a:cubicBezTo>
                    <a:cubicBezTo>
                      <a:pt x="373491" y="391228"/>
                      <a:pt x="374230" y="387751"/>
                      <a:pt x="374238" y="384235"/>
                    </a:cubicBezTo>
                    <a:lnTo>
                      <a:pt x="374238" y="110621"/>
                    </a:lnTo>
                    <a:cubicBezTo>
                      <a:pt x="374238" y="96527"/>
                      <a:pt x="362814" y="85103"/>
                      <a:pt x="348719" y="85103"/>
                    </a:cubicBezTo>
                    <a:lnTo>
                      <a:pt x="306208" y="85103"/>
                    </a:lnTo>
                    <a:lnTo>
                      <a:pt x="306208" y="68092"/>
                    </a:lnTo>
                    <a:lnTo>
                      <a:pt x="357242" y="68092"/>
                    </a:lnTo>
                    <a:cubicBezTo>
                      <a:pt x="376032" y="68092"/>
                      <a:pt x="391265" y="83324"/>
                      <a:pt x="391265" y="102114"/>
                    </a:cubicBezTo>
                    <a:lnTo>
                      <a:pt x="391265" y="459359"/>
                    </a:lnTo>
                    <a:cubicBezTo>
                      <a:pt x="391265" y="478149"/>
                      <a:pt x="376032" y="493381"/>
                      <a:pt x="357242" y="493381"/>
                    </a:cubicBezTo>
                    <a:lnTo>
                      <a:pt x="51034" y="493381"/>
                    </a:lnTo>
                    <a:cubicBezTo>
                      <a:pt x="32243" y="493381"/>
                      <a:pt x="17011" y="478149"/>
                      <a:pt x="17011" y="459359"/>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 name="Freeform: Shape 153">
                <a:extLst>
                  <a:ext uri="{FF2B5EF4-FFF2-40B4-BE49-F238E27FC236}">
                    <a16:creationId xmlns:a16="http://schemas.microsoft.com/office/drawing/2014/main" id="{286151A6-7BFE-4E42-42EA-EBD8BC7D8394}"/>
                  </a:ext>
                </a:extLst>
              </p:cNvPr>
              <p:cNvSpPr/>
              <p:nvPr/>
            </p:nvSpPr>
            <p:spPr>
              <a:xfrm>
                <a:off x="11502183" y="3778360"/>
                <a:ext cx="94108" cy="16199"/>
              </a:xfrm>
              <a:custGeom>
                <a:avLst/>
                <a:gdLst>
                  <a:gd name="connsiteX0" fmla="*/ 8503 w 102067"/>
                  <a:gd name="connsiteY0" fmla="*/ 17011 h 17011"/>
                  <a:gd name="connsiteX1" fmla="*/ 93560 w 102067"/>
                  <a:gd name="connsiteY1" fmla="*/ 17011 h 17011"/>
                  <a:gd name="connsiteX2" fmla="*/ 102068 w 102067"/>
                  <a:gd name="connsiteY2" fmla="*/ 8504 h 17011"/>
                  <a:gd name="connsiteX3" fmla="*/ 93560 w 102067"/>
                  <a:gd name="connsiteY3" fmla="*/ 0 h 17011"/>
                  <a:gd name="connsiteX4" fmla="*/ 8503 w 102067"/>
                  <a:gd name="connsiteY4" fmla="*/ 0 h 17011"/>
                  <a:gd name="connsiteX5" fmla="*/ 0 w 102067"/>
                  <a:gd name="connsiteY5" fmla="*/ 8504 h 17011"/>
                  <a:gd name="connsiteX6" fmla="*/ 8503 w 102067"/>
                  <a:gd name="connsiteY6" fmla="*/ 17011 h 1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067" h="17011">
                    <a:moveTo>
                      <a:pt x="8503" y="17011"/>
                    </a:moveTo>
                    <a:lnTo>
                      <a:pt x="93560" y="17011"/>
                    </a:lnTo>
                    <a:cubicBezTo>
                      <a:pt x="98260" y="17011"/>
                      <a:pt x="102068" y="13203"/>
                      <a:pt x="102068" y="8504"/>
                    </a:cubicBezTo>
                    <a:cubicBezTo>
                      <a:pt x="102068" y="3808"/>
                      <a:pt x="98260" y="0"/>
                      <a:pt x="93560" y="0"/>
                    </a:cubicBezTo>
                    <a:lnTo>
                      <a:pt x="8503" y="0"/>
                    </a:lnTo>
                    <a:cubicBezTo>
                      <a:pt x="3808" y="0"/>
                      <a:pt x="0" y="3808"/>
                      <a:pt x="0" y="8504"/>
                    </a:cubicBezTo>
                    <a:cubicBezTo>
                      <a:pt x="0" y="13203"/>
                      <a:pt x="3808" y="17011"/>
                      <a:pt x="8503" y="17011"/>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 name="Freeform: Shape 154">
                <a:extLst>
                  <a:ext uri="{FF2B5EF4-FFF2-40B4-BE49-F238E27FC236}">
                    <a16:creationId xmlns:a16="http://schemas.microsoft.com/office/drawing/2014/main" id="{6EED2996-4F79-BFB8-A986-8BBFFD17B62C}"/>
                  </a:ext>
                </a:extLst>
              </p:cNvPr>
              <p:cNvSpPr/>
              <p:nvPr/>
            </p:nvSpPr>
            <p:spPr>
              <a:xfrm>
                <a:off x="11423755" y="3867459"/>
                <a:ext cx="78427" cy="80997"/>
              </a:xfrm>
              <a:custGeom>
                <a:avLst/>
                <a:gdLst>
                  <a:gd name="connsiteX0" fmla="*/ 76553 w 85060"/>
                  <a:gd name="connsiteY0" fmla="*/ 51034 h 85056"/>
                  <a:gd name="connsiteX1" fmla="*/ 68046 w 85060"/>
                  <a:gd name="connsiteY1" fmla="*/ 59537 h 85056"/>
                  <a:gd name="connsiteX2" fmla="*/ 68046 w 85060"/>
                  <a:gd name="connsiteY2" fmla="*/ 68044 h 85056"/>
                  <a:gd name="connsiteX3" fmla="*/ 17011 w 85060"/>
                  <a:gd name="connsiteY3" fmla="*/ 68044 h 85056"/>
                  <a:gd name="connsiteX4" fmla="*/ 17011 w 85060"/>
                  <a:gd name="connsiteY4" fmla="*/ 17011 h 85056"/>
                  <a:gd name="connsiteX5" fmla="*/ 42530 w 85060"/>
                  <a:gd name="connsiteY5" fmla="*/ 17011 h 85056"/>
                  <a:gd name="connsiteX6" fmla="*/ 51034 w 85060"/>
                  <a:gd name="connsiteY6" fmla="*/ 8503 h 85056"/>
                  <a:gd name="connsiteX7" fmla="*/ 42530 w 85060"/>
                  <a:gd name="connsiteY7" fmla="*/ 0 h 85056"/>
                  <a:gd name="connsiteX8" fmla="*/ 17011 w 85060"/>
                  <a:gd name="connsiteY8" fmla="*/ 0 h 85056"/>
                  <a:gd name="connsiteX9" fmla="*/ 0 w 85060"/>
                  <a:gd name="connsiteY9" fmla="*/ 17011 h 85056"/>
                  <a:gd name="connsiteX10" fmla="*/ 0 w 85060"/>
                  <a:gd name="connsiteY10" fmla="*/ 68044 h 85056"/>
                  <a:gd name="connsiteX11" fmla="*/ 17011 w 85060"/>
                  <a:gd name="connsiteY11" fmla="*/ 85056 h 85056"/>
                  <a:gd name="connsiteX12" fmla="*/ 68046 w 85060"/>
                  <a:gd name="connsiteY12" fmla="*/ 85056 h 85056"/>
                  <a:gd name="connsiteX13" fmla="*/ 85061 w 85060"/>
                  <a:gd name="connsiteY13" fmla="*/ 68044 h 85056"/>
                  <a:gd name="connsiteX14" fmla="*/ 85061 w 85060"/>
                  <a:gd name="connsiteY14" fmla="*/ 59537 h 85056"/>
                  <a:gd name="connsiteX15" fmla="*/ 76553 w 85060"/>
                  <a:gd name="connsiteY15" fmla="*/ 51034 h 8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060" h="85056">
                    <a:moveTo>
                      <a:pt x="76553" y="51034"/>
                    </a:moveTo>
                    <a:cubicBezTo>
                      <a:pt x="71857" y="51034"/>
                      <a:pt x="68046" y="54841"/>
                      <a:pt x="68046" y="59537"/>
                    </a:cubicBezTo>
                    <a:lnTo>
                      <a:pt x="68046" y="68044"/>
                    </a:lnTo>
                    <a:lnTo>
                      <a:pt x="17011" y="68044"/>
                    </a:lnTo>
                    <a:lnTo>
                      <a:pt x="17011" y="17011"/>
                    </a:lnTo>
                    <a:lnTo>
                      <a:pt x="42530" y="17011"/>
                    </a:lnTo>
                    <a:cubicBezTo>
                      <a:pt x="47226" y="17011"/>
                      <a:pt x="51034" y="13203"/>
                      <a:pt x="51034" y="8503"/>
                    </a:cubicBezTo>
                    <a:cubicBezTo>
                      <a:pt x="51034" y="3808"/>
                      <a:pt x="47226" y="0"/>
                      <a:pt x="42530" y="0"/>
                    </a:cubicBezTo>
                    <a:lnTo>
                      <a:pt x="17011" y="0"/>
                    </a:lnTo>
                    <a:cubicBezTo>
                      <a:pt x="7616" y="0"/>
                      <a:pt x="0" y="7615"/>
                      <a:pt x="0" y="17011"/>
                    </a:cubicBezTo>
                    <a:lnTo>
                      <a:pt x="0" y="68044"/>
                    </a:lnTo>
                    <a:cubicBezTo>
                      <a:pt x="0" y="77440"/>
                      <a:pt x="7616" y="85056"/>
                      <a:pt x="17011" y="85056"/>
                    </a:cubicBezTo>
                    <a:lnTo>
                      <a:pt x="68046" y="85056"/>
                    </a:lnTo>
                    <a:cubicBezTo>
                      <a:pt x="77440" y="85056"/>
                      <a:pt x="85061" y="77440"/>
                      <a:pt x="85061" y="68044"/>
                    </a:cubicBezTo>
                    <a:lnTo>
                      <a:pt x="85061" y="59537"/>
                    </a:lnTo>
                    <a:cubicBezTo>
                      <a:pt x="85061" y="54841"/>
                      <a:pt x="81253" y="51034"/>
                      <a:pt x="76553" y="51034"/>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 name="Freeform: Shape 155">
                <a:extLst>
                  <a:ext uri="{FF2B5EF4-FFF2-40B4-BE49-F238E27FC236}">
                    <a16:creationId xmlns:a16="http://schemas.microsoft.com/office/drawing/2014/main" id="{EFCFD84B-693F-44BF-E334-B4842F471EAA}"/>
                  </a:ext>
                </a:extLst>
              </p:cNvPr>
              <p:cNvSpPr/>
              <p:nvPr/>
            </p:nvSpPr>
            <p:spPr>
              <a:xfrm>
                <a:off x="11423755" y="3980856"/>
                <a:ext cx="78427" cy="80997"/>
              </a:xfrm>
              <a:custGeom>
                <a:avLst/>
                <a:gdLst>
                  <a:gd name="connsiteX0" fmla="*/ 68046 w 85060"/>
                  <a:gd name="connsiteY0" fmla="*/ 0 h 85056"/>
                  <a:gd name="connsiteX1" fmla="*/ 17011 w 85060"/>
                  <a:gd name="connsiteY1" fmla="*/ 0 h 85056"/>
                  <a:gd name="connsiteX2" fmla="*/ 0 w 85060"/>
                  <a:gd name="connsiteY2" fmla="*/ 17011 h 85056"/>
                  <a:gd name="connsiteX3" fmla="*/ 0 w 85060"/>
                  <a:gd name="connsiteY3" fmla="*/ 68044 h 85056"/>
                  <a:gd name="connsiteX4" fmla="*/ 17011 w 85060"/>
                  <a:gd name="connsiteY4" fmla="*/ 85056 h 85056"/>
                  <a:gd name="connsiteX5" fmla="*/ 68046 w 85060"/>
                  <a:gd name="connsiteY5" fmla="*/ 85056 h 85056"/>
                  <a:gd name="connsiteX6" fmla="*/ 85061 w 85060"/>
                  <a:gd name="connsiteY6" fmla="*/ 68044 h 85056"/>
                  <a:gd name="connsiteX7" fmla="*/ 85061 w 85060"/>
                  <a:gd name="connsiteY7" fmla="*/ 17011 h 85056"/>
                  <a:gd name="connsiteX8" fmla="*/ 68046 w 85060"/>
                  <a:gd name="connsiteY8" fmla="*/ 0 h 85056"/>
                  <a:gd name="connsiteX9" fmla="*/ 17011 w 85060"/>
                  <a:gd name="connsiteY9" fmla="*/ 68044 h 85056"/>
                  <a:gd name="connsiteX10" fmla="*/ 17011 w 85060"/>
                  <a:gd name="connsiteY10" fmla="*/ 17011 h 85056"/>
                  <a:gd name="connsiteX11" fmla="*/ 68046 w 85060"/>
                  <a:gd name="connsiteY11" fmla="*/ 17011 h 85056"/>
                  <a:gd name="connsiteX12" fmla="*/ 68046 w 85060"/>
                  <a:gd name="connsiteY12" fmla="*/ 68044 h 8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60" h="85056">
                    <a:moveTo>
                      <a:pt x="68046" y="0"/>
                    </a:moveTo>
                    <a:lnTo>
                      <a:pt x="17011" y="0"/>
                    </a:lnTo>
                    <a:cubicBezTo>
                      <a:pt x="7616" y="0"/>
                      <a:pt x="0" y="7615"/>
                      <a:pt x="0" y="17011"/>
                    </a:cubicBezTo>
                    <a:lnTo>
                      <a:pt x="0" y="68044"/>
                    </a:lnTo>
                    <a:cubicBezTo>
                      <a:pt x="0" y="77440"/>
                      <a:pt x="7616" y="85056"/>
                      <a:pt x="17011" y="85056"/>
                    </a:cubicBezTo>
                    <a:lnTo>
                      <a:pt x="68046" y="85056"/>
                    </a:lnTo>
                    <a:cubicBezTo>
                      <a:pt x="77440" y="85056"/>
                      <a:pt x="85061" y="77440"/>
                      <a:pt x="85061" y="68044"/>
                    </a:cubicBezTo>
                    <a:lnTo>
                      <a:pt x="85061" y="17011"/>
                    </a:lnTo>
                    <a:cubicBezTo>
                      <a:pt x="85061" y="7615"/>
                      <a:pt x="77440" y="0"/>
                      <a:pt x="68046" y="0"/>
                    </a:cubicBezTo>
                    <a:close/>
                    <a:moveTo>
                      <a:pt x="17011" y="68044"/>
                    </a:moveTo>
                    <a:lnTo>
                      <a:pt x="17011" y="17011"/>
                    </a:lnTo>
                    <a:lnTo>
                      <a:pt x="68046" y="17011"/>
                    </a:lnTo>
                    <a:lnTo>
                      <a:pt x="68046" y="68044"/>
                    </a:ln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 name="Freeform: Shape 156">
                <a:extLst>
                  <a:ext uri="{FF2B5EF4-FFF2-40B4-BE49-F238E27FC236}">
                    <a16:creationId xmlns:a16="http://schemas.microsoft.com/office/drawing/2014/main" id="{0BB51C32-11D7-BB67-94F6-A13C8DA1FF8B}"/>
                  </a:ext>
                </a:extLst>
              </p:cNvPr>
              <p:cNvSpPr/>
              <p:nvPr/>
            </p:nvSpPr>
            <p:spPr>
              <a:xfrm>
                <a:off x="11517868" y="3883659"/>
                <a:ext cx="54895" cy="16199"/>
              </a:xfrm>
              <a:custGeom>
                <a:avLst/>
                <a:gdLst>
                  <a:gd name="connsiteX0" fmla="*/ 8504 w 59538"/>
                  <a:gd name="connsiteY0" fmla="*/ 17012 h 17011"/>
                  <a:gd name="connsiteX1" fmla="*/ 51035 w 59538"/>
                  <a:gd name="connsiteY1" fmla="*/ 17012 h 17011"/>
                  <a:gd name="connsiteX2" fmla="*/ 59538 w 59538"/>
                  <a:gd name="connsiteY2" fmla="*/ 8504 h 17011"/>
                  <a:gd name="connsiteX3" fmla="*/ 51035 w 59538"/>
                  <a:gd name="connsiteY3" fmla="*/ 0 h 17011"/>
                  <a:gd name="connsiteX4" fmla="*/ 8504 w 59538"/>
                  <a:gd name="connsiteY4" fmla="*/ 0 h 17011"/>
                  <a:gd name="connsiteX5" fmla="*/ 0 w 59538"/>
                  <a:gd name="connsiteY5" fmla="*/ 8504 h 17011"/>
                  <a:gd name="connsiteX6" fmla="*/ 8504 w 59538"/>
                  <a:gd name="connsiteY6" fmla="*/ 17012 h 1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38" h="17011">
                    <a:moveTo>
                      <a:pt x="8504" y="17012"/>
                    </a:moveTo>
                    <a:lnTo>
                      <a:pt x="51035" y="17012"/>
                    </a:lnTo>
                    <a:cubicBezTo>
                      <a:pt x="55731" y="17012"/>
                      <a:pt x="59538" y="13203"/>
                      <a:pt x="59538" y="8504"/>
                    </a:cubicBezTo>
                    <a:cubicBezTo>
                      <a:pt x="59538" y="3809"/>
                      <a:pt x="55731" y="0"/>
                      <a:pt x="51035" y="0"/>
                    </a:cubicBezTo>
                    <a:lnTo>
                      <a:pt x="8504" y="0"/>
                    </a:lnTo>
                    <a:cubicBezTo>
                      <a:pt x="3809" y="0"/>
                      <a:pt x="0" y="3809"/>
                      <a:pt x="0" y="8504"/>
                    </a:cubicBezTo>
                    <a:cubicBezTo>
                      <a:pt x="0" y="13203"/>
                      <a:pt x="3809" y="17012"/>
                      <a:pt x="8504" y="17012"/>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 name="Freeform: Shape 157">
                <a:extLst>
                  <a:ext uri="{FF2B5EF4-FFF2-40B4-BE49-F238E27FC236}">
                    <a16:creationId xmlns:a16="http://schemas.microsoft.com/office/drawing/2014/main" id="{BEA5C087-3B02-C7B6-3FEF-6410D3937A9A}"/>
                  </a:ext>
                </a:extLst>
              </p:cNvPr>
              <p:cNvSpPr/>
              <p:nvPr/>
            </p:nvSpPr>
            <p:spPr>
              <a:xfrm>
                <a:off x="11588447" y="3883659"/>
                <a:ext cx="86268" cy="16199"/>
              </a:xfrm>
              <a:custGeom>
                <a:avLst/>
                <a:gdLst>
                  <a:gd name="connsiteX0" fmla="*/ 85061 w 93564"/>
                  <a:gd name="connsiteY0" fmla="*/ 0 h 17011"/>
                  <a:gd name="connsiteX1" fmla="*/ 8507 w 93564"/>
                  <a:gd name="connsiteY1" fmla="*/ 0 h 17011"/>
                  <a:gd name="connsiteX2" fmla="*/ 0 w 93564"/>
                  <a:gd name="connsiteY2" fmla="*/ 8504 h 17011"/>
                  <a:gd name="connsiteX3" fmla="*/ 8507 w 93564"/>
                  <a:gd name="connsiteY3" fmla="*/ 17012 h 17011"/>
                  <a:gd name="connsiteX4" fmla="*/ 85061 w 93564"/>
                  <a:gd name="connsiteY4" fmla="*/ 17012 h 17011"/>
                  <a:gd name="connsiteX5" fmla="*/ 93564 w 93564"/>
                  <a:gd name="connsiteY5" fmla="*/ 8504 h 17011"/>
                  <a:gd name="connsiteX6" fmla="*/ 85061 w 93564"/>
                  <a:gd name="connsiteY6" fmla="*/ 0 h 1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64" h="17011">
                    <a:moveTo>
                      <a:pt x="85061" y="0"/>
                    </a:moveTo>
                    <a:lnTo>
                      <a:pt x="8507" y="0"/>
                    </a:lnTo>
                    <a:cubicBezTo>
                      <a:pt x="3809" y="0"/>
                      <a:pt x="0" y="3809"/>
                      <a:pt x="0" y="8504"/>
                    </a:cubicBezTo>
                    <a:cubicBezTo>
                      <a:pt x="0" y="13203"/>
                      <a:pt x="3809" y="17012"/>
                      <a:pt x="8507" y="17012"/>
                    </a:cubicBezTo>
                    <a:lnTo>
                      <a:pt x="85061" y="17012"/>
                    </a:lnTo>
                    <a:cubicBezTo>
                      <a:pt x="89756" y="17012"/>
                      <a:pt x="93564" y="13203"/>
                      <a:pt x="93564" y="8504"/>
                    </a:cubicBezTo>
                    <a:cubicBezTo>
                      <a:pt x="93564" y="3809"/>
                      <a:pt x="89756" y="0"/>
                      <a:pt x="85061" y="0"/>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 name="Freeform: Shape 158">
                <a:extLst>
                  <a:ext uri="{FF2B5EF4-FFF2-40B4-BE49-F238E27FC236}">
                    <a16:creationId xmlns:a16="http://schemas.microsoft.com/office/drawing/2014/main" id="{EC4CEC5D-CA8E-B0AC-4FFE-CD2D9CECCB61}"/>
                  </a:ext>
                </a:extLst>
              </p:cNvPr>
              <p:cNvSpPr/>
              <p:nvPr/>
            </p:nvSpPr>
            <p:spPr>
              <a:xfrm>
                <a:off x="11517868" y="3916058"/>
                <a:ext cx="94109" cy="16198"/>
              </a:xfrm>
              <a:custGeom>
                <a:avLst/>
                <a:gdLst>
                  <a:gd name="connsiteX0" fmla="*/ 8504 w 102068"/>
                  <a:gd name="connsiteY0" fmla="*/ 17011 h 17010"/>
                  <a:gd name="connsiteX1" fmla="*/ 93561 w 102068"/>
                  <a:gd name="connsiteY1" fmla="*/ 17011 h 17010"/>
                  <a:gd name="connsiteX2" fmla="*/ 102069 w 102068"/>
                  <a:gd name="connsiteY2" fmla="*/ 8503 h 17010"/>
                  <a:gd name="connsiteX3" fmla="*/ 93561 w 102068"/>
                  <a:gd name="connsiteY3" fmla="*/ 0 h 17010"/>
                  <a:gd name="connsiteX4" fmla="*/ 8504 w 102068"/>
                  <a:gd name="connsiteY4" fmla="*/ 0 h 17010"/>
                  <a:gd name="connsiteX5" fmla="*/ 0 w 102068"/>
                  <a:gd name="connsiteY5" fmla="*/ 8503 h 17010"/>
                  <a:gd name="connsiteX6" fmla="*/ 8504 w 102068"/>
                  <a:gd name="connsiteY6" fmla="*/ 17011 h 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068" h="17010">
                    <a:moveTo>
                      <a:pt x="8504" y="17011"/>
                    </a:moveTo>
                    <a:lnTo>
                      <a:pt x="93561" y="17011"/>
                    </a:lnTo>
                    <a:cubicBezTo>
                      <a:pt x="98261" y="17011"/>
                      <a:pt x="102069" y="13203"/>
                      <a:pt x="102069" y="8503"/>
                    </a:cubicBezTo>
                    <a:cubicBezTo>
                      <a:pt x="102069" y="3808"/>
                      <a:pt x="98261" y="0"/>
                      <a:pt x="93561" y="0"/>
                    </a:cubicBezTo>
                    <a:lnTo>
                      <a:pt x="8504" y="0"/>
                    </a:lnTo>
                    <a:cubicBezTo>
                      <a:pt x="3809" y="0"/>
                      <a:pt x="0" y="3808"/>
                      <a:pt x="0" y="8503"/>
                    </a:cubicBezTo>
                    <a:cubicBezTo>
                      <a:pt x="0" y="13203"/>
                      <a:pt x="3809" y="17011"/>
                      <a:pt x="8504" y="17011"/>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 name="Freeform: Shape 159">
                <a:extLst>
                  <a:ext uri="{FF2B5EF4-FFF2-40B4-BE49-F238E27FC236}">
                    <a16:creationId xmlns:a16="http://schemas.microsoft.com/office/drawing/2014/main" id="{68AAB1FC-1C94-DBDC-C093-CAE82C56E8FA}"/>
                  </a:ext>
                </a:extLst>
              </p:cNvPr>
              <p:cNvSpPr/>
              <p:nvPr/>
            </p:nvSpPr>
            <p:spPr>
              <a:xfrm>
                <a:off x="11627661" y="3916058"/>
                <a:ext cx="47054" cy="16198"/>
              </a:xfrm>
              <a:custGeom>
                <a:avLst/>
                <a:gdLst>
                  <a:gd name="connsiteX0" fmla="*/ 42530 w 51033"/>
                  <a:gd name="connsiteY0" fmla="*/ 0 h 17010"/>
                  <a:gd name="connsiteX1" fmla="*/ 8507 w 51033"/>
                  <a:gd name="connsiteY1" fmla="*/ 0 h 17010"/>
                  <a:gd name="connsiteX2" fmla="*/ 0 w 51033"/>
                  <a:gd name="connsiteY2" fmla="*/ 8503 h 17010"/>
                  <a:gd name="connsiteX3" fmla="*/ 8507 w 51033"/>
                  <a:gd name="connsiteY3" fmla="*/ 17011 h 17010"/>
                  <a:gd name="connsiteX4" fmla="*/ 42530 w 51033"/>
                  <a:gd name="connsiteY4" fmla="*/ 17011 h 17010"/>
                  <a:gd name="connsiteX5" fmla="*/ 51034 w 51033"/>
                  <a:gd name="connsiteY5" fmla="*/ 8503 h 17010"/>
                  <a:gd name="connsiteX6" fmla="*/ 42530 w 51033"/>
                  <a:gd name="connsiteY6" fmla="*/ 0 h 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33" h="17010">
                    <a:moveTo>
                      <a:pt x="42530" y="0"/>
                    </a:moveTo>
                    <a:lnTo>
                      <a:pt x="8507" y="0"/>
                    </a:lnTo>
                    <a:cubicBezTo>
                      <a:pt x="3809" y="0"/>
                      <a:pt x="0" y="3808"/>
                      <a:pt x="0" y="8503"/>
                    </a:cubicBezTo>
                    <a:cubicBezTo>
                      <a:pt x="0" y="13203"/>
                      <a:pt x="3809" y="17011"/>
                      <a:pt x="8507" y="17011"/>
                    </a:cubicBezTo>
                    <a:lnTo>
                      <a:pt x="42530" y="17011"/>
                    </a:lnTo>
                    <a:cubicBezTo>
                      <a:pt x="47226" y="17011"/>
                      <a:pt x="51034" y="13203"/>
                      <a:pt x="51034" y="8503"/>
                    </a:cubicBezTo>
                    <a:cubicBezTo>
                      <a:pt x="51034" y="3808"/>
                      <a:pt x="47226" y="0"/>
                      <a:pt x="42530" y="0"/>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 name="Freeform: Shape 160">
                <a:extLst>
                  <a:ext uri="{FF2B5EF4-FFF2-40B4-BE49-F238E27FC236}">
                    <a16:creationId xmlns:a16="http://schemas.microsoft.com/office/drawing/2014/main" id="{3BE324E9-C3B9-92D2-9927-2E33D30AE8E0}"/>
                  </a:ext>
                </a:extLst>
              </p:cNvPr>
              <p:cNvSpPr/>
              <p:nvPr/>
            </p:nvSpPr>
            <p:spPr>
              <a:xfrm>
                <a:off x="11517868" y="3997056"/>
                <a:ext cx="54895" cy="16199"/>
              </a:xfrm>
              <a:custGeom>
                <a:avLst/>
                <a:gdLst>
                  <a:gd name="connsiteX0" fmla="*/ 8504 w 59538"/>
                  <a:gd name="connsiteY0" fmla="*/ 17012 h 17011"/>
                  <a:gd name="connsiteX1" fmla="*/ 51035 w 59538"/>
                  <a:gd name="connsiteY1" fmla="*/ 17012 h 17011"/>
                  <a:gd name="connsiteX2" fmla="*/ 59538 w 59538"/>
                  <a:gd name="connsiteY2" fmla="*/ 8507 h 17011"/>
                  <a:gd name="connsiteX3" fmla="*/ 51035 w 59538"/>
                  <a:gd name="connsiteY3" fmla="*/ 0 h 17011"/>
                  <a:gd name="connsiteX4" fmla="*/ 8504 w 59538"/>
                  <a:gd name="connsiteY4" fmla="*/ 0 h 17011"/>
                  <a:gd name="connsiteX5" fmla="*/ 0 w 59538"/>
                  <a:gd name="connsiteY5" fmla="*/ 8507 h 17011"/>
                  <a:gd name="connsiteX6" fmla="*/ 8504 w 59538"/>
                  <a:gd name="connsiteY6" fmla="*/ 17012 h 1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38" h="17011">
                    <a:moveTo>
                      <a:pt x="8504" y="17012"/>
                    </a:moveTo>
                    <a:lnTo>
                      <a:pt x="51035" y="17012"/>
                    </a:lnTo>
                    <a:cubicBezTo>
                      <a:pt x="55731" y="17012"/>
                      <a:pt x="59538" y="13203"/>
                      <a:pt x="59538" y="8507"/>
                    </a:cubicBezTo>
                    <a:cubicBezTo>
                      <a:pt x="59538" y="3808"/>
                      <a:pt x="55731" y="0"/>
                      <a:pt x="51035" y="0"/>
                    </a:cubicBezTo>
                    <a:lnTo>
                      <a:pt x="8504" y="0"/>
                    </a:lnTo>
                    <a:cubicBezTo>
                      <a:pt x="3809" y="0"/>
                      <a:pt x="0" y="3808"/>
                      <a:pt x="0" y="8507"/>
                    </a:cubicBezTo>
                    <a:cubicBezTo>
                      <a:pt x="0" y="13203"/>
                      <a:pt x="3809" y="17012"/>
                      <a:pt x="8504" y="17012"/>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 name="Freeform: Shape 161">
                <a:extLst>
                  <a:ext uri="{FF2B5EF4-FFF2-40B4-BE49-F238E27FC236}">
                    <a16:creationId xmlns:a16="http://schemas.microsoft.com/office/drawing/2014/main" id="{D49FAEF4-1FF6-9BB6-9E21-121D05B9F15A}"/>
                  </a:ext>
                </a:extLst>
              </p:cNvPr>
              <p:cNvSpPr/>
              <p:nvPr/>
            </p:nvSpPr>
            <p:spPr>
              <a:xfrm>
                <a:off x="11588447" y="3997056"/>
                <a:ext cx="86268" cy="16199"/>
              </a:xfrm>
              <a:custGeom>
                <a:avLst/>
                <a:gdLst>
                  <a:gd name="connsiteX0" fmla="*/ 85061 w 93564"/>
                  <a:gd name="connsiteY0" fmla="*/ 0 h 17011"/>
                  <a:gd name="connsiteX1" fmla="*/ 8507 w 93564"/>
                  <a:gd name="connsiteY1" fmla="*/ 0 h 17011"/>
                  <a:gd name="connsiteX2" fmla="*/ 0 w 93564"/>
                  <a:gd name="connsiteY2" fmla="*/ 8507 h 17011"/>
                  <a:gd name="connsiteX3" fmla="*/ 8507 w 93564"/>
                  <a:gd name="connsiteY3" fmla="*/ 17012 h 17011"/>
                  <a:gd name="connsiteX4" fmla="*/ 85061 w 93564"/>
                  <a:gd name="connsiteY4" fmla="*/ 17012 h 17011"/>
                  <a:gd name="connsiteX5" fmla="*/ 93564 w 93564"/>
                  <a:gd name="connsiteY5" fmla="*/ 8507 h 17011"/>
                  <a:gd name="connsiteX6" fmla="*/ 85061 w 93564"/>
                  <a:gd name="connsiteY6" fmla="*/ 0 h 1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64" h="17011">
                    <a:moveTo>
                      <a:pt x="85061" y="0"/>
                    </a:moveTo>
                    <a:lnTo>
                      <a:pt x="8507" y="0"/>
                    </a:lnTo>
                    <a:cubicBezTo>
                      <a:pt x="3809" y="0"/>
                      <a:pt x="0" y="3808"/>
                      <a:pt x="0" y="8507"/>
                    </a:cubicBezTo>
                    <a:cubicBezTo>
                      <a:pt x="0" y="13203"/>
                      <a:pt x="3809" y="17012"/>
                      <a:pt x="8507" y="17012"/>
                    </a:cubicBezTo>
                    <a:lnTo>
                      <a:pt x="85061" y="17012"/>
                    </a:lnTo>
                    <a:cubicBezTo>
                      <a:pt x="89756" y="17012"/>
                      <a:pt x="93564" y="13203"/>
                      <a:pt x="93564" y="8507"/>
                    </a:cubicBezTo>
                    <a:cubicBezTo>
                      <a:pt x="93564" y="3808"/>
                      <a:pt x="89756" y="0"/>
                      <a:pt x="85061" y="0"/>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 name="Freeform: Shape 162">
                <a:extLst>
                  <a:ext uri="{FF2B5EF4-FFF2-40B4-BE49-F238E27FC236}">
                    <a16:creationId xmlns:a16="http://schemas.microsoft.com/office/drawing/2014/main" id="{7D4C21B9-FB2A-C568-97B8-B49ED4A372DC}"/>
                  </a:ext>
                </a:extLst>
              </p:cNvPr>
              <p:cNvSpPr/>
              <p:nvPr/>
            </p:nvSpPr>
            <p:spPr>
              <a:xfrm>
                <a:off x="11517868" y="4029455"/>
                <a:ext cx="94109" cy="16198"/>
              </a:xfrm>
              <a:custGeom>
                <a:avLst/>
                <a:gdLst>
                  <a:gd name="connsiteX0" fmla="*/ 93561 w 102068"/>
                  <a:gd name="connsiteY0" fmla="*/ 0 h 17010"/>
                  <a:gd name="connsiteX1" fmla="*/ 8504 w 102068"/>
                  <a:gd name="connsiteY1" fmla="*/ 0 h 17010"/>
                  <a:gd name="connsiteX2" fmla="*/ 0 w 102068"/>
                  <a:gd name="connsiteY2" fmla="*/ 8507 h 17010"/>
                  <a:gd name="connsiteX3" fmla="*/ 8504 w 102068"/>
                  <a:gd name="connsiteY3" fmla="*/ 17011 h 17010"/>
                  <a:gd name="connsiteX4" fmla="*/ 93561 w 102068"/>
                  <a:gd name="connsiteY4" fmla="*/ 17011 h 17010"/>
                  <a:gd name="connsiteX5" fmla="*/ 102069 w 102068"/>
                  <a:gd name="connsiteY5" fmla="*/ 8507 h 17010"/>
                  <a:gd name="connsiteX6" fmla="*/ 93561 w 102068"/>
                  <a:gd name="connsiteY6" fmla="*/ 0 h 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068" h="17010">
                    <a:moveTo>
                      <a:pt x="93561" y="0"/>
                    </a:moveTo>
                    <a:lnTo>
                      <a:pt x="8504" y="0"/>
                    </a:lnTo>
                    <a:cubicBezTo>
                      <a:pt x="3809" y="0"/>
                      <a:pt x="0" y="3808"/>
                      <a:pt x="0" y="8507"/>
                    </a:cubicBezTo>
                    <a:cubicBezTo>
                      <a:pt x="0" y="13203"/>
                      <a:pt x="3809" y="17011"/>
                      <a:pt x="8504" y="17011"/>
                    </a:cubicBezTo>
                    <a:lnTo>
                      <a:pt x="93561" y="17011"/>
                    </a:lnTo>
                    <a:cubicBezTo>
                      <a:pt x="98261" y="17011"/>
                      <a:pt x="102069" y="13203"/>
                      <a:pt x="102069" y="8507"/>
                    </a:cubicBezTo>
                    <a:cubicBezTo>
                      <a:pt x="102069" y="3808"/>
                      <a:pt x="98261" y="0"/>
                      <a:pt x="93561" y="0"/>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 name="Freeform: Shape 163">
                <a:extLst>
                  <a:ext uri="{FF2B5EF4-FFF2-40B4-BE49-F238E27FC236}">
                    <a16:creationId xmlns:a16="http://schemas.microsoft.com/office/drawing/2014/main" id="{443CA55D-AFAB-8CFF-A609-DB60128170F0}"/>
                  </a:ext>
                </a:extLst>
              </p:cNvPr>
              <p:cNvSpPr/>
              <p:nvPr/>
            </p:nvSpPr>
            <p:spPr>
              <a:xfrm>
                <a:off x="11627661" y="4029455"/>
                <a:ext cx="47054" cy="16198"/>
              </a:xfrm>
              <a:custGeom>
                <a:avLst/>
                <a:gdLst>
                  <a:gd name="connsiteX0" fmla="*/ 42530 w 51033"/>
                  <a:gd name="connsiteY0" fmla="*/ 0 h 17010"/>
                  <a:gd name="connsiteX1" fmla="*/ 8507 w 51033"/>
                  <a:gd name="connsiteY1" fmla="*/ 0 h 17010"/>
                  <a:gd name="connsiteX2" fmla="*/ 0 w 51033"/>
                  <a:gd name="connsiteY2" fmla="*/ 8507 h 17010"/>
                  <a:gd name="connsiteX3" fmla="*/ 8507 w 51033"/>
                  <a:gd name="connsiteY3" fmla="*/ 17011 h 17010"/>
                  <a:gd name="connsiteX4" fmla="*/ 42530 w 51033"/>
                  <a:gd name="connsiteY4" fmla="*/ 17011 h 17010"/>
                  <a:gd name="connsiteX5" fmla="*/ 51034 w 51033"/>
                  <a:gd name="connsiteY5" fmla="*/ 8507 h 17010"/>
                  <a:gd name="connsiteX6" fmla="*/ 42530 w 51033"/>
                  <a:gd name="connsiteY6" fmla="*/ 0 h 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33" h="17010">
                    <a:moveTo>
                      <a:pt x="42530" y="0"/>
                    </a:moveTo>
                    <a:lnTo>
                      <a:pt x="8507" y="0"/>
                    </a:lnTo>
                    <a:cubicBezTo>
                      <a:pt x="3809" y="0"/>
                      <a:pt x="0" y="3808"/>
                      <a:pt x="0" y="8507"/>
                    </a:cubicBezTo>
                    <a:cubicBezTo>
                      <a:pt x="0" y="13203"/>
                      <a:pt x="3809" y="17011"/>
                      <a:pt x="8507" y="17011"/>
                    </a:cubicBezTo>
                    <a:lnTo>
                      <a:pt x="42530" y="17011"/>
                    </a:lnTo>
                    <a:cubicBezTo>
                      <a:pt x="47226" y="17011"/>
                      <a:pt x="51034" y="13203"/>
                      <a:pt x="51034" y="8507"/>
                    </a:cubicBezTo>
                    <a:cubicBezTo>
                      <a:pt x="51034" y="3808"/>
                      <a:pt x="47226" y="0"/>
                      <a:pt x="42530" y="0"/>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 name="Freeform: Shape 164">
                <a:extLst>
                  <a:ext uri="{FF2B5EF4-FFF2-40B4-BE49-F238E27FC236}">
                    <a16:creationId xmlns:a16="http://schemas.microsoft.com/office/drawing/2014/main" id="{3C7FE015-4D93-AC0B-7DEC-9FA58062924E}"/>
                  </a:ext>
                </a:extLst>
              </p:cNvPr>
              <p:cNvSpPr/>
              <p:nvPr/>
            </p:nvSpPr>
            <p:spPr>
              <a:xfrm>
                <a:off x="11447381" y="3851031"/>
                <a:ext cx="70661" cy="73125"/>
              </a:xfrm>
              <a:custGeom>
                <a:avLst/>
                <a:gdLst>
                  <a:gd name="connsiteX0" fmla="*/ 61026 w 76637"/>
                  <a:gd name="connsiteY0" fmla="*/ 3804 h 76789"/>
                  <a:gd name="connsiteX1" fmla="*/ 24324 w 76637"/>
                  <a:gd name="connsiteY1" fmla="*/ 55168 h 76789"/>
                  <a:gd name="connsiteX2" fmla="*/ 14415 w 76637"/>
                  <a:gd name="connsiteY2" fmla="*/ 45259 h 76789"/>
                  <a:gd name="connsiteX3" fmla="*/ 2493 w 76637"/>
                  <a:gd name="connsiteY3" fmla="*/ 45364 h 76789"/>
                  <a:gd name="connsiteX4" fmla="*/ 2388 w 76637"/>
                  <a:gd name="connsiteY4" fmla="*/ 57286 h 76789"/>
                  <a:gd name="connsiteX5" fmla="*/ 19399 w 76637"/>
                  <a:gd name="connsiteY5" fmla="*/ 74297 h 76789"/>
                  <a:gd name="connsiteX6" fmla="*/ 25410 w 76637"/>
                  <a:gd name="connsiteY6" fmla="*/ 76789 h 76789"/>
                  <a:gd name="connsiteX7" fmla="*/ 26111 w 76637"/>
                  <a:gd name="connsiteY7" fmla="*/ 76789 h 76789"/>
                  <a:gd name="connsiteX8" fmla="*/ 32326 w 76637"/>
                  <a:gd name="connsiteY8" fmla="*/ 73254 h 76789"/>
                  <a:gd name="connsiteX9" fmla="*/ 74856 w 76637"/>
                  <a:gd name="connsiteY9" fmla="*/ 13712 h 76789"/>
                  <a:gd name="connsiteX10" fmla="*/ 75919 w 76637"/>
                  <a:gd name="connsiteY10" fmla="*/ 5084 h 76789"/>
                  <a:gd name="connsiteX11" fmla="*/ 68845 w 76637"/>
                  <a:gd name="connsiteY11" fmla="*/ 31 h 76789"/>
                  <a:gd name="connsiteX12" fmla="*/ 61026 w 76637"/>
                  <a:gd name="connsiteY12" fmla="*/ 3827 h 7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637" h="76789">
                    <a:moveTo>
                      <a:pt x="61026" y="3804"/>
                    </a:moveTo>
                    <a:lnTo>
                      <a:pt x="24324" y="55168"/>
                    </a:lnTo>
                    <a:lnTo>
                      <a:pt x="14415" y="45259"/>
                    </a:lnTo>
                    <a:cubicBezTo>
                      <a:pt x="11078" y="42035"/>
                      <a:pt x="5771" y="42082"/>
                      <a:pt x="2493" y="45364"/>
                    </a:cubicBezTo>
                    <a:cubicBezTo>
                      <a:pt x="-790" y="48646"/>
                      <a:pt x="-836" y="53949"/>
                      <a:pt x="2388" y="57286"/>
                    </a:cubicBezTo>
                    <a:lnTo>
                      <a:pt x="19399" y="74297"/>
                    </a:lnTo>
                    <a:cubicBezTo>
                      <a:pt x="20996" y="75894"/>
                      <a:pt x="23157" y="76789"/>
                      <a:pt x="25410" y="76789"/>
                    </a:cubicBezTo>
                    <a:lnTo>
                      <a:pt x="26111" y="76789"/>
                    </a:lnTo>
                    <a:cubicBezTo>
                      <a:pt x="28603" y="76583"/>
                      <a:pt x="30878" y="75287"/>
                      <a:pt x="32326" y="73254"/>
                    </a:cubicBezTo>
                    <a:lnTo>
                      <a:pt x="74856" y="13712"/>
                    </a:lnTo>
                    <a:cubicBezTo>
                      <a:pt x="76764" y="11247"/>
                      <a:pt x="77173" y="7938"/>
                      <a:pt x="75919" y="5084"/>
                    </a:cubicBezTo>
                    <a:cubicBezTo>
                      <a:pt x="74665" y="2231"/>
                      <a:pt x="71952" y="291"/>
                      <a:pt x="68845" y="31"/>
                    </a:cubicBezTo>
                    <a:cubicBezTo>
                      <a:pt x="65741" y="-234"/>
                      <a:pt x="62740" y="1226"/>
                      <a:pt x="61026" y="3827"/>
                    </a:cubicBezTo>
                    <a:close/>
                  </a:path>
                </a:pathLst>
              </a:custGeom>
              <a:grpFill/>
              <a:ln w="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nvGrpSpPr>
          <p:cNvPr id="52" name="Group 51">
            <a:extLst>
              <a:ext uri="{FF2B5EF4-FFF2-40B4-BE49-F238E27FC236}">
                <a16:creationId xmlns:a16="http://schemas.microsoft.com/office/drawing/2014/main" id="{AB6DC341-12B6-087B-F8C3-0BA9123D264F}"/>
              </a:ext>
            </a:extLst>
          </p:cNvPr>
          <p:cNvGrpSpPr/>
          <p:nvPr/>
        </p:nvGrpSpPr>
        <p:grpSpPr>
          <a:xfrm>
            <a:off x="3076163" y="4973239"/>
            <a:ext cx="369500" cy="369498"/>
            <a:chOff x="4133273" y="2609643"/>
            <a:chExt cx="161636" cy="161636"/>
          </a:xfrm>
        </p:grpSpPr>
        <p:sp>
          <p:nvSpPr>
            <p:cNvPr id="53" name="Oval 52">
              <a:extLst>
                <a:ext uri="{FF2B5EF4-FFF2-40B4-BE49-F238E27FC236}">
                  <a16:creationId xmlns:a16="http://schemas.microsoft.com/office/drawing/2014/main" id="{AB9E5731-7269-7A1F-C055-7A393480FBD2}"/>
                </a:ext>
              </a:extLst>
            </p:cNvPr>
            <p:cNvSpPr/>
            <p:nvPr/>
          </p:nvSpPr>
          <p:spPr>
            <a:xfrm>
              <a:off x="4133273" y="2609643"/>
              <a:ext cx="161636" cy="161636"/>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54" name="Graphic 53">
              <a:extLst>
                <a:ext uri="{FF2B5EF4-FFF2-40B4-BE49-F238E27FC236}">
                  <a16:creationId xmlns:a16="http://schemas.microsoft.com/office/drawing/2014/main" id="{FE228A9D-A0C7-4608-2C59-94803BD11D92}"/>
                </a:ext>
              </a:extLst>
            </p:cNvPr>
            <p:cNvPicPr>
              <a:picLocks noChangeAspect="1"/>
            </p:cNvPicPr>
            <p:nvPr/>
          </p:nvPicPr>
          <p:blipFill>
            <a:blip r:embed="rId7" cstate="hq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188023" y="2660243"/>
              <a:ext cx="75840" cy="60436"/>
            </a:xfrm>
            <a:prstGeom prst="rect">
              <a:avLst/>
            </a:prstGeom>
          </p:spPr>
        </p:pic>
      </p:grpSp>
      <p:grpSp>
        <p:nvGrpSpPr>
          <p:cNvPr id="55" name="Group 54">
            <a:extLst>
              <a:ext uri="{FF2B5EF4-FFF2-40B4-BE49-F238E27FC236}">
                <a16:creationId xmlns:a16="http://schemas.microsoft.com/office/drawing/2014/main" id="{46A25F1F-2393-B9A6-0755-2195EFD80BA8}"/>
              </a:ext>
            </a:extLst>
          </p:cNvPr>
          <p:cNvGrpSpPr/>
          <p:nvPr/>
        </p:nvGrpSpPr>
        <p:grpSpPr>
          <a:xfrm>
            <a:off x="5888937" y="4973239"/>
            <a:ext cx="369500" cy="369498"/>
            <a:chOff x="4133273" y="2609643"/>
            <a:chExt cx="161636" cy="161636"/>
          </a:xfrm>
        </p:grpSpPr>
        <p:sp>
          <p:nvSpPr>
            <p:cNvPr id="56" name="Oval 55">
              <a:extLst>
                <a:ext uri="{FF2B5EF4-FFF2-40B4-BE49-F238E27FC236}">
                  <a16:creationId xmlns:a16="http://schemas.microsoft.com/office/drawing/2014/main" id="{2E89F7D6-6AED-D75D-EC3A-E8A278D9D802}"/>
                </a:ext>
              </a:extLst>
            </p:cNvPr>
            <p:cNvSpPr/>
            <p:nvPr/>
          </p:nvSpPr>
          <p:spPr>
            <a:xfrm>
              <a:off x="4133273" y="2609643"/>
              <a:ext cx="161636" cy="161636"/>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57" name="Graphic 56">
              <a:extLst>
                <a:ext uri="{FF2B5EF4-FFF2-40B4-BE49-F238E27FC236}">
                  <a16:creationId xmlns:a16="http://schemas.microsoft.com/office/drawing/2014/main" id="{265EFC3A-13C4-FFB7-292B-979E97ABADB3}"/>
                </a:ext>
              </a:extLst>
            </p:cNvPr>
            <p:cNvPicPr>
              <a:picLocks noChangeAspect="1"/>
            </p:cNvPicPr>
            <p:nvPr/>
          </p:nvPicPr>
          <p:blipFill>
            <a:blip r:embed="rId7" cstate="hq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188023" y="2660243"/>
              <a:ext cx="75840" cy="60436"/>
            </a:xfrm>
            <a:prstGeom prst="rect">
              <a:avLst/>
            </a:prstGeom>
          </p:spPr>
        </p:pic>
      </p:grpSp>
      <p:grpSp>
        <p:nvGrpSpPr>
          <p:cNvPr id="58" name="Group 57">
            <a:extLst>
              <a:ext uri="{FF2B5EF4-FFF2-40B4-BE49-F238E27FC236}">
                <a16:creationId xmlns:a16="http://schemas.microsoft.com/office/drawing/2014/main" id="{3D1582B7-E9AE-9A99-B872-2482B83D1036}"/>
              </a:ext>
            </a:extLst>
          </p:cNvPr>
          <p:cNvGrpSpPr/>
          <p:nvPr/>
        </p:nvGrpSpPr>
        <p:grpSpPr>
          <a:xfrm>
            <a:off x="8671894" y="4973239"/>
            <a:ext cx="369500" cy="369498"/>
            <a:chOff x="4133273" y="2609643"/>
            <a:chExt cx="161636" cy="161636"/>
          </a:xfrm>
        </p:grpSpPr>
        <p:sp>
          <p:nvSpPr>
            <p:cNvPr id="59" name="Oval 58">
              <a:extLst>
                <a:ext uri="{FF2B5EF4-FFF2-40B4-BE49-F238E27FC236}">
                  <a16:creationId xmlns:a16="http://schemas.microsoft.com/office/drawing/2014/main" id="{F3DB93E5-529D-C34C-124E-2AA38E970252}"/>
                </a:ext>
              </a:extLst>
            </p:cNvPr>
            <p:cNvSpPr/>
            <p:nvPr/>
          </p:nvSpPr>
          <p:spPr>
            <a:xfrm>
              <a:off x="4133273" y="2609643"/>
              <a:ext cx="161636" cy="161636"/>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0" name="Graphic 59">
              <a:extLst>
                <a:ext uri="{FF2B5EF4-FFF2-40B4-BE49-F238E27FC236}">
                  <a16:creationId xmlns:a16="http://schemas.microsoft.com/office/drawing/2014/main" id="{3B04E8D8-183F-C843-F452-4B02343BC303}"/>
                </a:ext>
              </a:extLst>
            </p:cNvPr>
            <p:cNvPicPr>
              <a:picLocks noChangeAspect="1"/>
            </p:cNvPicPr>
            <p:nvPr/>
          </p:nvPicPr>
          <p:blipFill>
            <a:blip r:embed="rId7" cstate="hq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188023" y="2660243"/>
              <a:ext cx="75840" cy="60436"/>
            </a:xfrm>
            <a:prstGeom prst="rect">
              <a:avLst/>
            </a:prstGeom>
          </p:spPr>
        </p:pic>
      </p:grpSp>
      <p:grpSp>
        <p:nvGrpSpPr>
          <p:cNvPr id="47" name="Group 46">
            <a:extLst>
              <a:ext uri="{FF2B5EF4-FFF2-40B4-BE49-F238E27FC236}">
                <a16:creationId xmlns:a16="http://schemas.microsoft.com/office/drawing/2014/main" id="{23CE638D-DA82-728A-DF4F-F243412CCB65}"/>
              </a:ext>
            </a:extLst>
          </p:cNvPr>
          <p:cNvGrpSpPr/>
          <p:nvPr/>
        </p:nvGrpSpPr>
        <p:grpSpPr>
          <a:xfrm>
            <a:off x="2280874" y="1948707"/>
            <a:ext cx="1109324" cy="325682"/>
            <a:chOff x="505219" y="1557029"/>
            <a:chExt cx="3999874" cy="325682"/>
          </a:xfrm>
        </p:grpSpPr>
        <p:sp>
          <p:nvSpPr>
            <p:cNvPr id="48" name="Freeform: Shape 13">
              <a:extLst>
                <a:ext uri="{FF2B5EF4-FFF2-40B4-BE49-F238E27FC236}">
                  <a16:creationId xmlns:a16="http://schemas.microsoft.com/office/drawing/2014/main" id="{73E16228-583E-616D-6692-97A78CC81610}"/>
                </a:ext>
              </a:extLst>
            </p:cNvPr>
            <p:cNvSpPr>
              <a:spLocks/>
            </p:cNvSpPr>
            <p:nvPr/>
          </p:nvSpPr>
          <p:spPr>
            <a:xfrm>
              <a:off x="505219" y="1557029"/>
              <a:ext cx="3999874" cy="325682"/>
            </a:xfrm>
            <a:prstGeom prst="roundRect">
              <a:avLst>
                <a:gd name="adj" fmla="val 50000"/>
              </a:avLst>
            </a:prstGeom>
            <a:solidFill>
              <a:schemeClr val="bg1"/>
            </a:solidFill>
            <a:ln w="3175">
              <a:solidFill>
                <a:schemeClr val="accent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sp>
          <p:nvSpPr>
            <p:cNvPr id="49" name="Freeform: Shape 13">
              <a:extLst>
                <a:ext uri="{FF2B5EF4-FFF2-40B4-BE49-F238E27FC236}">
                  <a16:creationId xmlns:a16="http://schemas.microsoft.com/office/drawing/2014/main" id="{0A7331C3-217C-2876-4DC0-F6084FCEE5AC}"/>
                </a:ext>
              </a:extLst>
            </p:cNvPr>
            <p:cNvSpPr/>
            <p:nvPr/>
          </p:nvSpPr>
          <p:spPr>
            <a:xfrm>
              <a:off x="554829" y="1594630"/>
              <a:ext cx="3905659" cy="260029"/>
            </a:xfrm>
            <a:prstGeom prst="roundRect">
              <a:avLst>
                <a:gd name="adj" fmla="val 50000"/>
              </a:avLst>
            </a:prstGeom>
            <a:solidFill>
              <a:schemeClr val="accent5">
                <a:lumMod val="90000"/>
                <a:alpha val="65000"/>
              </a:schemeClr>
            </a:solidFill>
            <a:ln w="3175">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grpSp>
      <p:grpSp>
        <p:nvGrpSpPr>
          <p:cNvPr id="51" name="Group 50">
            <a:extLst>
              <a:ext uri="{FF2B5EF4-FFF2-40B4-BE49-F238E27FC236}">
                <a16:creationId xmlns:a16="http://schemas.microsoft.com/office/drawing/2014/main" id="{3E92988A-55C9-8DB9-638C-B3DE89D3ED90}"/>
              </a:ext>
            </a:extLst>
          </p:cNvPr>
          <p:cNvGrpSpPr/>
          <p:nvPr/>
        </p:nvGrpSpPr>
        <p:grpSpPr>
          <a:xfrm>
            <a:off x="505219" y="1580717"/>
            <a:ext cx="4442920" cy="325682"/>
            <a:chOff x="505219" y="1557029"/>
            <a:chExt cx="3999874" cy="325682"/>
          </a:xfrm>
        </p:grpSpPr>
        <p:sp>
          <p:nvSpPr>
            <p:cNvPr id="61" name="Freeform: Shape 13">
              <a:extLst>
                <a:ext uri="{FF2B5EF4-FFF2-40B4-BE49-F238E27FC236}">
                  <a16:creationId xmlns:a16="http://schemas.microsoft.com/office/drawing/2014/main" id="{2220C250-B248-1335-57FD-89056304B30B}"/>
                </a:ext>
              </a:extLst>
            </p:cNvPr>
            <p:cNvSpPr>
              <a:spLocks/>
            </p:cNvSpPr>
            <p:nvPr/>
          </p:nvSpPr>
          <p:spPr>
            <a:xfrm>
              <a:off x="505219" y="1557029"/>
              <a:ext cx="3999874" cy="325682"/>
            </a:xfrm>
            <a:prstGeom prst="roundRect">
              <a:avLst>
                <a:gd name="adj" fmla="val 50000"/>
              </a:avLst>
            </a:prstGeom>
            <a:solidFill>
              <a:schemeClr val="bg1"/>
            </a:solidFill>
            <a:ln w="3175">
              <a:solidFill>
                <a:schemeClr val="accent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sp>
          <p:nvSpPr>
            <p:cNvPr id="62" name="Freeform: Shape 13">
              <a:extLst>
                <a:ext uri="{FF2B5EF4-FFF2-40B4-BE49-F238E27FC236}">
                  <a16:creationId xmlns:a16="http://schemas.microsoft.com/office/drawing/2014/main" id="{46105121-9D9B-CAA5-AF27-0877C2A1FAA8}"/>
                </a:ext>
              </a:extLst>
            </p:cNvPr>
            <p:cNvSpPr/>
            <p:nvPr/>
          </p:nvSpPr>
          <p:spPr>
            <a:xfrm>
              <a:off x="554829" y="1594630"/>
              <a:ext cx="3905659" cy="260029"/>
            </a:xfrm>
            <a:prstGeom prst="roundRect">
              <a:avLst>
                <a:gd name="adj" fmla="val 50000"/>
              </a:avLst>
            </a:prstGeom>
            <a:solidFill>
              <a:schemeClr val="accent5">
                <a:lumMod val="90000"/>
                <a:alpha val="65000"/>
              </a:schemeClr>
            </a:solidFill>
            <a:ln w="3175">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403" tIns="72403" rIns="72403" bIns="72403" numCol="1" spcCol="1270" anchor="ctr" anchorCtr="0">
              <a:noAutofit/>
            </a:bodyPr>
            <a:lstStyle/>
            <a:p>
              <a:pPr marL="0" marR="0" lvl="0" indent="0" algn="ctr" defTabSz="80008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a:ln>
                  <a:noFill/>
                </a:ln>
                <a:solidFill>
                  <a:srgbClr val="006378"/>
                </a:solidFill>
                <a:effectLst/>
                <a:uLnTx/>
                <a:uFillTx/>
                <a:latin typeface="Arial" panose="020B0604020202020204"/>
                <a:ea typeface="+mn-ea"/>
                <a:cs typeface="+mn-cs"/>
              </a:endParaRPr>
            </a:p>
          </p:txBody>
        </p:sp>
      </p:grpSp>
      <p:sp>
        <p:nvSpPr>
          <p:cNvPr id="63" name="Rectangle 62">
            <a:extLst>
              <a:ext uri="{FF2B5EF4-FFF2-40B4-BE49-F238E27FC236}">
                <a16:creationId xmlns:a16="http://schemas.microsoft.com/office/drawing/2014/main" id="{E8123942-705C-6F19-8951-74B098644ABF}"/>
              </a:ext>
            </a:extLst>
          </p:cNvPr>
          <p:cNvSpPr/>
          <p:nvPr/>
        </p:nvSpPr>
        <p:spPr>
          <a:xfrm>
            <a:off x="608542" y="1444797"/>
            <a:ext cx="11078239" cy="1214348"/>
          </a:xfrm>
          <a:prstGeom prst="rect">
            <a:avLst/>
          </a:prstGeom>
        </p:spPr>
        <p:txBody>
          <a:bodyPr wrap="square" lIns="91440" tIns="91440" rIns="91440" bIns="91440" anchor="ctr" anchorCtr="0">
            <a:noAutofit/>
          </a:bodyPr>
          <a:lstStyle/>
          <a:p>
            <a:pPr marL="0" marR="0" lvl="1" indent="0" algn="just" defTabSz="914400" rtl="0" eaLnBrk="1" fontAlgn="auto" latinLnBrk="0" hangingPunct="1">
              <a:lnSpc>
                <a:spcPct val="15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mn-ea"/>
                <a:cs typeface="Arial"/>
                <a:sym typeface="Arial"/>
                <a:hlinkClick r:id="rId9"/>
              </a:rPr>
              <a:t>Un accord de </a:t>
            </a:r>
            <a:r>
              <a:rPr kumimoji="0" lang="en-US" sz="1600" b="0" i="0" u="none" strike="noStrike" kern="0" cap="none" spc="0" normalizeH="0" baseline="0" noProof="0" dirty="0" err="1">
                <a:ln>
                  <a:noFill/>
                </a:ln>
                <a:solidFill>
                  <a:srgbClr val="000000"/>
                </a:solidFill>
                <a:effectLst/>
                <a:uLnTx/>
                <a:uFillTx/>
                <a:latin typeface="Arial"/>
                <a:ea typeface="+mn-ea"/>
                <a:cs typeface="Arial"/>
                <a:sym typeface="Arial"/>
                <a:hlinkClick r:id="rId9"/>
              </a:rPr>
              <a:t>licence</a:t>
            </a:r>
            <a:r>
              <a:rPr kumimoji="0" lang="en-US" sz="1600" b="0" i="0" u="none" strike="noStrike" kern="0" cap="none" spc="0" normalizeH="0" baseline="0" noProof="0" dirty="0">
                <a:ln>
                  <a:noFill/>
                </a:ln>
                <a:solidFill>
                  <a:srgbClr val="000000"/>
                </a:solidFill>
                <a:effectLst/>
                <a:uLnTx/>
                <a:uFillTx/>
                <a:latin typeface="Arial"/>
                <a:ea typeface="+mn-ea"/>
                <a:cs typeface="Arial"/>
                <a:sym typeface="Arial"/>
                <a:hlinkClick r:id="rId9"/>
              </a:rPr>
              <a:t> «unique en son genre» </a:t>
            </a:r>
            <a:r>
              <a:rPr kumimoji="0" lang="en-US" sz="1600" b="0" i="0" u="none" strike="noStrike" kern="0" cap="none" spc="0" normalizeH="0" baseline="0" noProof="0" dirty="0">
                <a:ln>
                  <a:noFill/>
                </a:ln>
                <a:solidFill>
                  <a:srgbClr val="000000"/>
                </a:solidFill>
                <a:effectLst/>
                <a:uLnTx/>
                <a:uFillTx/>
                <a:latin typeface="Arial"/>
                <a:ea typeface="+mn-ea"/>
                <a:cs typeface="Arial"/>
                <a:sym typeface="Arial"/>
              </a:rPr>
              <a:t> signé entre Shionogi et GARDP* en juin 2022 afin d'améliorer l'accès au </a:t>
            </a:r>
            <a:r>
              <a:rPr kumimoji="0" lang="en-US" sz="1600" b="0" i="0" u="none" strike="noStrike" kern="0" cap="none" spc="0" normalizeH="0" baseline="0" noProof="0" dirty="0" err="1">
                <a:ln>
                  <a:noFill/>
                </a:ln>
                <a:solidFill>
                  <a:srgbClr val="000000"/>
                </a:solidFill>
                <a:effectLst/>
                <a:uLnTx/>
                <a:uFillTx/>
                <a:latin typeface="Arial"/>
                <a:ea typeface="+mn-ea"/>
                <a:cs typeface="Arial"/>
                <a:sym typeface="Arial"/>
              </a:rPr>
              <a:t>céfiderocol</a:t>
            </a:r>
            <a:r>
              <a:rPr kumimoji="0" lang="en-US" sz="1600" b="0" i="0" u="none" strike="noStrike" kern="0" cap="none" spc="0" normalizeH="0" baseline="0" noProof="0" dirty="0">
                <a:ln>
                  <a:noFill/>
                </a:ln>
                <a:solidFill>
                  <a:srgbClr val="000000"/>
                </a:solidFill>
                <a:effectLst/>
                <a:uLnTx/>
                <a:uFillTx/>
                <a:latin typeface="Arial"/>
                <a:ea typeface="+mn-ea"/>
                <a:cs typeface="Arial"/>
                <a:sym typeface="Arial"/>
              </a:rPr>
              <a:t> dans </a:t>
            </a:r>
            <a:r>
              <a:rPr kumimoji="0" lang="en-US" sz="1600" b="0" i="0" u="none" strike="noStrike" kern="0" cap="none" spc="0" normalizeH="0" baseline="0" noProof="0" dirty="0">
                <a:ln>
                  <a:noFill/>
                </a:ln>
                <a:solidFill>
                  <a:srgbClr val="000000"/>
                </a:solidFill>
                <a:effectLst/>
                <a:uLnTx/>
                <a:uFillTx/>
                <a:latin typeface="Arial"/>
                <a:ea typeface="+mn-ea"/>
                <a:cs typeface="Arial"/>
                <a:sym typeface="Arial"/>
                <a:hlinkClick r:id="rId10"/>
              </a:rPr>
              <a:t> 135 pays</a:t>
            </a:r>
            <a:r>
              <a:rPr kumimoji="0" lang="en-US" sz="1600" b="0" i="0" u="none" strike="noStrike" kern="0" cap="none" spc="0" normalizeH="0" baseline="0" noProof="0" dirty="0">
                <a:ln>
                  <a:noFill/>
                </a:ln>
                <a:solidFill>
                  <a:srgbClr val="000000"/>
                </a:solidFill>
                <a:effectLst/>
                <a:uLnTx/>
                <a:uFillTx/>
                <a:latin typeface="Arial"/>
                <a:ea typeface="+mn-ea"/>
                <a:cs typeface="Arial"/>
                <a:sym typeface="Arial"/>
              </a:rPr>
              <a:t>,  principalement à faible et moyen revenu, peut ouvrir la voie à </a:t>
            </a:r>
            <a:r>
              <a:rPr kumimoji="0" lang="en-US" sz="1600" b="0" i="0" u="none" strike="noStrike" kern="0" cap="none" spc="0" normalizeH="0" baseline="0" noProof="0" dirty="0">
                <a:ln>
                  <a:noFill/>
                </a:ln>
                <a:solidFill>
                  <a:srgbClr val="0B1E2F"/>
                </a:solidFill>
                <a:effectLst/>
                <a:uLnTx/>
                <a:uFillTx/>
                <a:latin typeface="Arial"/>
                <a:ea typeface="+mn-ea"/>
                <a:cs typeface="Arial"/>
                <a:sym typeface="Arial"/>
              </a:rPr>
              <a:t>un accès durable et responsable à ce médicament et établir une voie pour d'autres antibiotiques novateurs.</a:t>
            </a:r>
          </a:p>
        </p:txBody>
      </p:sp>
    </p:spTree>
    <p:extLst>
      <p:ext uri="{BB962C8B-B14F-4D97-AF65-F5344CB8AC3E}">
        <p14:creationId xmlns:p14="http://schemas.microsoft.com/office/powerpoint/2010/main" val="29234697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63AEF-DCFD-F9FE-FD44-0402F1042FF5}"/>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C4930846-1665-AEB7-6957-E3F5C788B534}"/>
              </a:ext>
            </a:extLst>
          </p:cNvPr>
          <p:cNvGrpSpPr/>
          <p:nvPr/>
        </p:nvGrpSpPr>
        <p:grpSpPr>
          <a:xfrm>
            <a:off x="811289" y="3786118"/>
            <a:ext cx="11122564" cy="384007"/>
            <a:chOff x="698500" y="2671233"/>
            <a:chExt cx="7975600" cy="217666"/>
          </a:xfrm>
        </p:grpSpPr>
        <p:sp>
          <p:nvSpPr>
            <p:cNvPr id="6" name="Rectangle: Rounded Corners 33">
              <a:extLst>
                <a:ext uri="{FF2B5EF4-FFF2-40B4-BE49-F238E27FC236}">
                  <a16:creationId xmlns:a16="http://schemas.microsoft.com/office/drawing/2014/main" id="{4179E1D9-EC12-9FD6-FCC9-FC0D4979F5AC}"/>
                </a:ext>
              </a:extLst>
            </p:cNvPr>
            <p:cNvSpPr/>
            <p:nvPr/>
          </p:nvSpPr>
          <p:spPr>
            <a:xfrm>
              <a:off x="698500" y="2671233"/>
              <a:ext cx="7975600" cy="217666"/>
            </a:xfrm>
            <a:prstGeom prst="roundRect">
              <a:avLst>
                <a:gd name="adj" fmla="val 50000"/>
              </a:avLst>
            </a:prstGeom>
            <a:gradFill>
              <a:gsLst>
                <a:gs pos="0">
                  <a:srgbClr val="81D0D6"/>
                </a:gs>
                <a:gs pos="100000">
                  <a:schemeClr val="accent2"/>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Graphic 36">
              <a:extLst>
                <a:ext uri="{FF2B5EF4-FFF2-40B4-BE49-F238E27FC236}">
                  <a16:creationId xmlns:a16="http://schemas.microsoft.com/office/drawing/2014/main" id="{6C3DC21C-E2CA-890E-9736-94C7585FAE97}"/>
                </a:ext>
              </a:extLst>
            </p:cNvPr>
            <p:cNvSpPr/>
            <p:nvPr/>
          </p:nvSpPr>
          <p:spPr>
            <a:xfrm>
              <a:off x="8429217" y="2702046"/>
              <a:ext cx="197865" cy="147902"/>
            </a:xfrm>
            <a:custGeom>
              <a:avLst/>
              <a:gdLst>
                <a:gd name="connsiteX0" fmla="*/ 28004 w 108013"/>
                <a:gd name="connsiteY0" fmla="*/ 78010 h 108013"/>
                <a:gd name="connsiteX1" fmla="*/ 37814 w 108013"/>
                <a:gd name="connsiteY1" fmla="*/ 53912 h 108013"/>
                <a:gd name="connsiteX2" fmla="*/ 28004 w 108013"/>
                <a:gd name="connsiteY2" fmla="*/ 29909 h 108013"/>
                <a:gd name="connsiteX3" fmla="*/ 88392 w 108013"/>
                <a:gd name="connsiteY3" fmla="*/ 53912 h 108013"/>
                <a:gd name="connsiteX4" fmla="*/ 28004 w 108013"/>
                <a:gd name="connsiteY4" fmla="*/ 78010 h 108013"/>
                <a:gd name="connsiteX5" fmla="*/ 54197 w 108013"/>
                <a:gd name="connsiteY5" fmla="*/ 0 h 108013"/>
                <a:gd name="connsiteX6" fmla="*/ 0 w 108013"/>
                <a:gd name="connsiteY6" fmla="*/ 53816 h 108013"/>
                <a:gd name="connsiteX7" fmla="*/ 54197 w 108013"/>
                <a:gd name="connsiteY7" fmla="*/ 108014 h 108013"/>
                <a:gd name="connsiteX8" fmla="*/ 108014 w 108013"/>
                <a:gd name="connsiteY8" fmla="*/ 53816 h 108013"/>
                <a:gd name="connsiteX9" fmla="*/ 54197 w 108013"/>
                <a:gd name="connsiteY9" fmla="*/ 0 h 10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13" h="108013">
                  <a:moveTo>
                    <a:pt x="28004" y="78010"/>
                  </a:moveTo>
                  <a:lnTo>
                    <a:pt x="37814" y="53912"/>
                  </a:lnTo>
                  <a:lnTo>
                    <a:pt x="28004" y="29909"/>
                  </a:lnTo>
                  <a:lnTo>
                    <a:pt x="88392" y="53912"/>
                  </a:lnTo>
                  <a:lnTo>
                    <a:pt x="28004" y="78010"/>
                  </a:lnTo>
                  <a:close/>
                  <a:moveTo>
                    <a:pt x="54197" y="0"/>
                  </a:moveTo>
                  <a:cubicBezTo>
                    <a:pt x="24479" y="0"/>
                    <a:pt x="0" y="24098"/>
                    <a:pt x="0" y="53816"/>
                  </a:cubicBezTo>
                  <a:cubicBezTo>
                    <a:pt x="0" y="83534"/>
                    <a:pt x="24479" y="108014"/>
                    <a:pt x="54197" y="108014"/>
                  </a:cubicBezTo>
                  <a:cubicBezTo>
                    <a:pt x="83915" y="108014"/>
                    <a:pt x="108014" y="83915"/>
                    <a:pt x="108014" y="53816"/>
                  </a:cubicBezTo>
                  <a:cubicBezTo>
                    <a:pt x="108014" y="23717"/>
                    <a:pt x="83915" y="0"/>
                    <a:pt x="54197" y="0"/>
                  </a:cubicBezTo>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grpSp>
      <p:sp>
        <p:nvSpPr>
          <p:cNvPr id="2" name="Title 1" hidden="1">
            <a:extLst>
              <a:ext uri="{FF2B5EF4-FFF2-40B4-BE49-F238E27FC236}">
                <a16:creationId xmlns:a16="http://schemas.microsoft.com/office/drawing/2014/main" id="{957C068F-E3EE-5138-755D-A21F940C08FB}"/>
              </a:ext>
            </a:extLst>
          </p:cNvPr>
          <p:cNvSpPr>
            <a:spLocks noGrp="1"/>
          </p:cNvSpPr>
          <p:nvPr>
            <p:ph type="title" idx="4294967295"/>
          </p:nvPr>
        </p:nvSpPr>
        <p:spPr>
          <a:xfrm>
            <a:off x="0" y="155575"/>
            <a:ext cx="10975975" cy="928688"/>
          </a:xfrm>
          <a:prstGeom prst="rect">
            <a:avLst/>
          </a:prstGeom>
        </p:spPr>
        <p:txBody>
          <a:bodyPr/>
          <a:lstStyle/>
          <a:p>
            <a:r>
              <a:rPr lang="en-GB" sz="2800">
                <a:latin typeface="Arial"/>
                <a:cs typeface="Arial"/>
              </a:rPr>
              <a:t>Depuis le lancement du projet, nous avons franchi des étapes importantes et sommes en bonne voie pour atteindre nos objectifs.</a:t>
            </a:r>
            <a:endParaRPr lang="en-US" sz="2800"/>
          </a:p>
        </p:txBody>
      </p:sp>
      <p:sp>
        <p:nvSpPr>
          <p:cNvPr id="19" name="Rounded Rectangle 18">
            <a:extLst>
              <a:ext uri="{FF2B5EF4-FFF2-40B4-BE49-F238E27FC236}">
                <a16:creationId xmlns:a16="http://schemas.microsoft.com/office/drawing/2014/main" id="{EF87C3CC-44AC-AE9A-5C32-A549A4B65290}"/>
              </a:ext>
            </a:extLst>
          </p:cNvPr>
          <p:cNvSpPr/>
          <p:nvPr/>
        </p:nvSpPr>
        <p:spPr>
          <a:xfrm>
            <a:off x="1574818" y="2212783"/>
            <a:ext cx="2046472" cy="1216217"/>
          </a:xfrm>
          <a:prstGeom prst="roundRect">
            <a:avLst>
              <a:gd name="adj" fmla="val 4950"/>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79A8B3"/>
                </a:solidFill>
                <a:effectLst/>
                <a:uLnTx/>
                <a:uFillTx/>
                <a:latin typeface="Arial" panose="020B0604020202020204"/>
                <a:ea typeface="+mn-ea"/>
                <a:cs typeface="+mn-cs"/>
              </a:rPr>
              <a:t>Juin 2022 </a:t>
            </a:r>
            <a:r>
              <a:rPr kumimoji="0" lang="en-US" sz="1050" b="0" i="0" u="none" strike="noStrike" kern="1200" cap="none" spc="0" normalizeH="0" baseline="0" noProof="0" dirty="0">
                <a:ln>
                  <a:noFill/>
                </a:ln>
                <a:solidFill>
                  <a:srgbClr val="79A8B3"/>
                </a:solidFill>
                <a:effectLst/>
                <a:uLnTx/>
                <a:uFillTx/>
                <a:latin typeface="Arial" panose="020B0604020202020204"/>
                <a:ea typeface="+mn-ea"/>
                <a:cs typeface="+mn-cs"/>
              </a:rPr>
              <a:t>: </a:t>
            </a:r>
            <a:r>
              <a:rPr kumimoji="0" lang="en-US" sz="1050" b="0" i="0" u="none" strike="noStrike" kern="1200" cap="none" spc="0" normalizeH="0" baseline="0" noProof="0" dirty="0">
                <a:ln>
                  <a:noFill/>
                </a:ln>
                <a:solidFill>
                  <a:srgbClr val="0B1E2F"/>
                </a:solidFill>
                <a:effectLst/>
                <a:uLnTx/>
                <a:uFillTx/>
                <a:latin typeface="Arial" panose="020B0604020202020204"/>
                <a:ea typeface="+mn-ea"/>
                <a:cs typeface="+mn-cs"/>
              </a:rPr>
              <a:t>signature</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d'un accord de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licence</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a:t>
            </a:r>
            <a:r>
              <a:rPr kumimoji="0" lang="en-US" sz="1050" b="1" i="0" u="none" strike="noStrike" kern="1200" cap="none" spc="0" normalizeH="0" baseline="0" noProof="0" dirty="0">
                <a:ln>
                  <a:noFill/>
                </a:ln>
                <a:solidFill>
                  <a:srgbClr val="79A8B3"/>
                </a:solidFill>
                <a:effectLst/>
                <a:uLnTx/>
                <a:uFillTx/>
                <a:latin typeface="Arial" panose="020B0604020202020204"/>
                <a:ea typeface="+mn-ea"/>
                <a:cs typeface="+mn-cs"/>
              </a:rPr>
              <a:t>« unique </a:t>
            </a:r>
            <a:r>
              <a:rPr kumimoji="0" lang="en-US" sz="1050" b="1" i="0" u="none" strike="noStrike" kern="1200" cap="none" spc="0" normalizeH="0" baseline="0" noProof="0" dirty="0" err="1">
                <a:ln>
                  <a:noFill/>
                </a:ln>
                <a:solidFill>
                  <a:srgbClr val="79A8B3"/>
                </a:solidFill>
                <a:effectLst/>
                <a:uLnTx/>
                <a:uFillTx/>
                <a:latin typeface="Arial" panose="020B0604020202020204"/>
                <a:ea typeface="+mn-ea"/>
                <a:cs typeface="+mn-cs"/>
              </a:rPr>
              <a:t>en</a:t>
            </a:r>
            <a:r>
              <a:rPr kumimoji="0" lang="en-US" sz="1050" b="1" i="0" u="none" strike="noStrike" kern="1200" cap="none" spc="0" normalizeH="0" baseline="0" noProof="0" dirty="0">
                <a:ln>
                  <a:noFill/>
                </a:ln>
                <a:solidFill>
                  <a:srgbClr val="79A8B3"/>
                </a:solidFill>
                <a:effectLst/>
                <a:uLnTx/>
                <a:uFillTx/>
                <a:latin typeface="Arial" panose="020B0604020202020204"/>
                <a:ea typeface="+mn-ea"/>
                <a:cs typeface="+mn-cs"/>
              </a:rPr>
              <a:t> son genre » </a:t>
            </a:r>
            <a:r>
              <a:rPr kumimoji="0" lang="en-US" sz="1050" b="0" i="0" u="none" strike="noStrike" kern="1200" cap="none" spc="0" normalizeH="0" baseline="0" noProof="0" dirty="0">
                <a:ln>
                  <a:noFill/>
                </a:ln>
                <a:solidFill>
                  <a:srgbClr val="0B1E2F"/>
                </a:solidFill>
                <a:effectLst/>
                <a:uLnTx/>
                <a:uFillTx/>
                <a:latin typeface="Arial" panose="020B0604020202020204"/>
                <a:ea typeface="+mn-ea"/>
                <a:cs typeface="+mn-cs"/>
              </a:rPr>
              <a:t>entre Shionogi et GARDP pour </a:t>
            </a:r>
            <a:r>
              <a:rPr kumimoji="0" lang="en-US" sz="1050" b="0" i="0" u="none" strike="noStrike" kern="1200" cap="none" spc="0" normalizeH="0" baseline="0" noProof="0" dirty="0" err="1">
                <a:ln>
                  <a:noFill/>
                </a:ln>
                <a:solidFill>
                  <a:srgbClr val="0B1E2F"/>
                </a:solidFill>
                <a:effectLst/>
                <a:uLnTx/>
                <a:uFillTx/>
                <a:latin typeface="Arial" panose="020B0604020202020204"/>
                <a:ea typeface="+mn-ea"/>
                <a:cs typeface="+mn-cs"/>
              </a:rPr>
              <a:t>l'accès</a:t>
            </a:r>
            <a:r>
              <a:rPr kumimoji="0" lang="en-US" sz="1050" b="0" i="0" u="none" strike="noStrike" kern="1200" cap="none" spc="0" normalizeH="0" baseline="0" noProof="0" dirty="0">
                <a:ln>
                  <a:noFill/>
                </a:ln>
                <a:solidFill>
                  <a:srgbClr val="0B1E2F"/>
                </a:solidFill>
                <a:effectLst/>
                <a:uLnTx/>
                <a:uFillTx/>
                <a:latin typeface="Arial" panose="020B0604020202020204"/>
                <a:ea typeface="+mn-ea"/>
                <a:cs typeface="+mn-cs"/>
              </a:rPr>
              <a:t> au </a:t>
            </a:r>
            <a:r>
              <a:rPr kumimoji="0" lang="en-US" sz="1050" b="0" i="0" u="none" strike="noStrike" kern="1200" cap="none" spc="0" normalizeH="0" baseline="0" noProof="0" dirty="0" err="1">
                <a:ln>
                  <a:noFill/>
                </a:ln>
                <a:solidFill>
                  <a:srgbClr val="0B1E2F"/>
                </a:solidFill>
                <a:effectLst/>
                <a:uLnTx/>
                <a:uFillTx/>
                <a:latin typeface="Arial" panose="020B0604020202020204"/>
                <a:ea typeface="+mn-ea"/>
                <a:cs typeface="+mn-cs"/>
              </a:rPr>
              <a:t>Cefiderocol</a:t>
            </a:r>
            <a:r>
              <a:rPr kumimoji="0" lang="en-US" sz="1050" b="0" i="0" u="none" strike="noStrike" kern="1200" cap="none" spc="0" normalizeH="0" baseline="0" noProof="0" dirty="0">
                <a:ln>
                  <a:noFill/>
                </a:ln>
                <a:solidFill>
                  <a:srgbClr val="0B1E2F"/>
                </a:solidFill>
                <a:effectLst/>
                <a:uLnTx/>
                <a:uFillTx/>
                <a:latin typeface="Arial" panose="020B0604020202020204"/>
                <a:ea typeface="+mn-ea"/>
                <a:cs typeface="+mn-cs"/>
              </a:rPr>
              <a:t> dans les PRFI</a:t>
            </a:r>
            <a:endParaRPr kumimoji="0" lang="en-GB" sz="1050" b="0" i="0" u="none" strike="noStrike" kern="1200" cap="none" spc="0" normalizeH="0" baseline="0" noProof="0" dirty="0">
              <a:ln>
                <a:noFill/>
              </a:ln>
              <a:solidFill>
                <a:srgbClr val="0B1E2F"/>
              </a:solidFill>
              <a:effectLst/>
              <a:uLnTx/>
              <a:uFillTx/>
              <a:latin typeface="Arial" panose="020B0604020202020204"/>
              <a:ea typeface="+mn-ea"/>
              <a:cs typeface="+mn-cs"/>
            </a:endParaRPr>
          </a:p>
        </p:txBody>
      </p:sp>
      <p:sp>
        <p:nvSpPr>
          <p:cNvPr id="20" name="Rounded Rectangle 19">
            <a:extLst>
              <a:ext uri="{FF2B5EF4-FFF2-40B4-BE49-F238E27FC236}">
                <a16:creationId xmlns:a16="http://schemas.microsoft.com/office/drawing/2014/main" id="{C88C5C35-E9E3-A6F5-E8C9-2A7D480D7074}"/>
              </a:ext>
            </a:extLst>
          </p:cNvPr>
          <p:cNvSpPr/>
          <p:nvPr/>
        </p:nvSpPr>
        <p:spPr>
          <a:xfrm>
            <a:off x="1574817" y="4463559"/>
            <a:ext cx="2046472" cy="1216217"/>
          </a:xfrm>
          <a:prstGeom prst="roundRect">
            <a:avLst>
              <a:gd name="adj" fmla="val 7879"/>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79A8B3"/>
                </a:solidFill>
                <a:effectLst/>
                <a:uLnTx/>
                <a:uFillTx/>
                <a:latin typeface="Arial" panose="020B0604020202020204"/>
                <a:ea typeface="+mn-ea"/>
                <a:cs typeface="+mn-cs"/>
              </a:rPr>
              <a:t>Juin 2022 </a:t>
            </a:r>
            <a:r>
              <a:rPr kumimoji="0" lang="en-US" sz="1050" b="0" i="0" u="none" strike="noStrike" kern="1200" cap="none" spc="0" normalizeH="0" baseline="0" noProof="0" dirty="0">
                <a:ln>
                  <a:noFill/>
                </a:ln>
                <a:solidFill>
                  <a:srgbClr val="79A8B3"/>
                </a:solidFill>
                <a:effectLst/>
                <a:uLnTx/>
                <a:uFillTx/>
                <a:latin typeface="Arial" panose="020B0604020202020204"/>
                <a:ea typeface="+mn-ea"/>
                <a:cs typeface="+mn-cs"/>
              </a:rPr>
              <a:t>: </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signature d'un accord de collaboration entre le GARDP, le CHAI et Shionogi </a:t>
            </a:r>
            <a:r>
              <a:rPr kumimoji="0" lang="en-US" sz="1050" b="0" i="0" u="none" strike="noStrike" kern="1200" cap="none" spc="0" normalizeH="0" baseline="0" noProof="0" dirty="0">
                <a:ln>
                  <a:noFill/>
                </a:ln>
                <a:solidFill>
                  <a:srgbClr val="0B1E2F"/>
                </a:solidFill>
                <a:effectLst/>
                <a:uLnTx/>
                <a:uFillTx/>
                <a:latin typeface="Arial" panose="020B0604020202020204"/>
                <a:ea typeface="+mn-ea"/>
                <a:cs typeface="+mn-cs"/>
              </a:rPr>
              <a:t>pour </a:t>
            </a:r>
            <a:r>
              <a:rPr kumimoji="0" lang="en-US" sz="1050" b="0" i="0" u="none" strike="noStrike" kern="1200" cap="none" spc="0" normalizeH="0" baseline="0" noProof="0" dirty="0" err="1">
                <a:ln>
                  <a:noFill/>
                </a:ln>
                <a:solidFill>
                  <a:srgbClr val="0B1E2F"/>
                </a:solidFill>
                <a:effectLst/>
                <a:uLnTx/>
                <a:uFillTx/>
                <a:latin typeface="Arial" panose="020B0604020202020204"/>
                <a:ea typeface="+mn-ea"/>
                <a:cs typeface="+mn-cs"/>
              </a:rPr>
              <a:t>permettre</a:t>
            </a:r>
            <a:r>
              <a:rPr kumimoji="0" lang="en-US" sz="1050" b="0" i="0" u="none" strike="noStrike" kern="1200" cap="none" spc="0" normalizeH="0" baseline="0" noProof="0" dirty="0">
                <a:ln>
                  <a:noFill/>
                </a:ln>
                <a:solidFill>
                  <a:srgbClr val="0B1E2F"/>
                </a:solidFill>
                <a:effectLst/>
                <a:uLnTx/>
                <a:uFillTx/>
                <a:latin typeface="Arial" panose="020B0604020202020204"/>
                <a:ea typeface="+mn-ea"/>
                <a:cs typeface="+mn-cs"/>
              </a:rPr>
              <a:t> </a:t>
            </a:r>
            <a:r>
              <a:rPr kumimoji="0" lang="en-US" sz="1050" b="0" i="0" u="none" strike="noStrike" kern="1200" cap="none" spc="0" normalizeH="0" baseline="0" noProof="0" dirty="0" err="1">
                <a:ln>
                  <a:noFill/>
                </a:ln>
                <a:solidFill>
                  <a:srgbClr val="0B1E2F"/>
                </a:solidFill>
                <a:effectLst/>
                <a:uLnTx/>
                <a:uFillTx/>
                <a:latin typeface="Arial" panose="020B0604020202020204"/>
                <a:ea typeface="+mn-ea"/>
                <a:cs typeface="+mn-cs"/>
              </a:rPr>
              <a:t>l'accès</a:t>
            </a:r>
            <a:r>
              <a:rPr kumimoji="0" lang="en-US" sz="1050" b="0" i="0" u="none" strike="noStrike" kern="1200" cap="none" spc="0" normalizeH="0" baseline="0" noProof="0" dirty="0">
                <a:ln>
                  <a:noFill/>
                </a:ln>
                <a:solidFill>
                  <a:srgbClr val="0B1E2F"/>
                </a:solidFill>
                <a:effectLst/>
                <a:uLnTx/>
                <a:uFillTx/>
                <a:latin typeface="Arial" panose="020B0604020202020204"/>
                <a:ea typeface="+mn-ea"/>
                <a:cs typeface="+mn-cs"/>
              </a:rPr>
              <a:t> au </a:t>
            </a:r>
            <a:r>
              <a:rPr kumimoji="0" lang="en-US" sz="1050" b="0" i="0" u="none" strike="noStrike" kern="1200" cap="none" spc="0" normalizeH="0" baseline="0" noProof="0" dirty="0" err="1">
                <a:ln>
                  <a:noFill/>
                </a:ln>
                <a:solidFill>
                  <a:srgbClr val="0B1E2F"/>
                </a:solidFill>
                <a:effectLst/>
                <a:uLnTx/>
                <a:uFillTx/>
                <a:latin typeface="Arial" panose="020B0604020202020204"/>
                <a:ea typeface="+mn-ea"/>
                <a:cs typeface="+mn-cs"/>
              </a:rPr>
              <a:t>Cefiderocol</a:t>
            </a:r>
            <a:r>
              <a:rPr kumimoji="0" lang="en-US" sz="1050" b="0" i="0" u="none" strike="noStrike" kern="1200" cap="none" spc="0" normalizeH="0" baseline="0" noProof="0" dirty="0">
                <a:ln>
                  <a:noFill/>
                </a:ln>
                <a:solidFill>
                  <a:srgbClr val="0B1E2F"/>
                </a:solidFill>
                <a:effectLst/>
                <a:uLnTx/>
                <a:uFillTx/>
                <a:latin typeface="Arial" panose="020B0604020202020204"/>
                <a:ea typeface="+mn-ea"/>
                <a:cs typeface="+mn-cs"/>
              </a:rPr>
              <a:t> dans les PRFI</a:t>
            </a:r>
            <a:endParaRPr kumimoji="0" lang="en-GB" sz="1050" b="0" i="0" u="none" strike="noStrike" kern="1200" cap="none" spc="0" normalizeH="0" baseline="0" noProof="0" dirty="0">
              <a:ln>
                <a:noFill/>
              </a:ln>
              <a:solidFill>
                <a:srgbClr val="0B1E2F"/>
              </a:solidFill>
              <a:effectLst/>
              <a:uLnTx/>
              <a:uFillTx/>
              <a:latin typeface="Arial" panose="020B0604020202020204"/>
              <a:ea typeface="+mn-ea"/>
              <a:cs typeface="+mn-cs"/>
            </a:endParaRPr>
          </a:p>
        </p:txBody>
      </p:sp>
      <p:sp>
        <p:nvSpPr>
          <p:cNvPr id="27" name="Rounded Rectangle 26">
            <a:extLst>
              <a:ext uri="{FF2B5EF4-FFF2-40B4-BE49-F238E27FC236}">
                <a16:creationId xmlns:a16="http://schemas.microsoft.com/office/drawing/2014/main" id="{67FD32C7-D80A-9C49-0A73-DC6D19798AEC}"/>
              </a:ext>
            </a:extLst>
          </p:cNvPr>
          <p:cNvSpPr/>
          <p:nvPr/>
        </p:nvSpPr>
        <p:spPr>
          <a:xfrm>
            <a:off x="6639464" y="2212783"/>
            <a:ext cx="2419373" cy="1216217"/>
          </a:xfrm>
          <a:prstGeom prst="roundRect">
            <a:avLst>
              <a:gd name="adj" fmla="val 7879"/>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050" b="1" i="0" u="none" strike="noStrike" kern="1200" cap="none" spc="0" normalizeH="0" baseline="0" noProof="0" dirty="0">
                <a:ln>
                  <a:noFill/>
                </a:ln>
                <a:solidFill>
                  <a:srgbClr val="79A8B3"/>
                </a:solidFill>
                <a:effectLst/>
                <a:uLnTx/>
                <a:uFillTx/>
                <a:latin typeface="Arial" panose="020B0604020202020204"/>
                <a:ea typeface="+mn-ea"/>
                <a:cs typeface="+mn-cs"/>
              </a:rPr>
              <a:t>Septembre 2023 : </a:t>
            </a:r>
            <a:r>
              <a:rPr kumimoji="0" lang="en-CH" sz="1050" b="0" i="0" u="none" strike="noStrike" kern="1200" cap="none" spc="0" normalizeH="0" baseline="0" noProof="0" dirty="0">
                <a:ln>
                  <a:noFill/>
                </a:ln>
                <a:solidFill>
                  <a:srgbClr val="0B1E2F"/>
                </a:solidFill>
                <a:effectLst/>
                <a:uLnTx/>
                <a:uFillTx/>
                <a:latin typeface="Arial" panose="020B0604020202020204"/>
                <a:ea typeface="+mn-ea"/>
                <a:cs typeface="+mn-cs"/>
              </a:rPr>
              <a:t>signature d'une sous-licence de fabrication avec un sous-licencié, incluant </a:t>
            </a:r>
            <a:r>
              <a:rPr kumimoji="0" lang="en-CH" sz="1050" b="1" i="0" u="none" strike="noStrike" kern="1200" cap="none" spc="0" normalizeH="0" baseline="0" noProof="0" dirty="0">
                <a:ln>
                  <a:noFill/>
                </a:ln>
                <a:solidFill>
                  <a:srgbClr val="0B1E2F"/>
                </a:solidFill>
                <a:effectLst/>
                <a:uLnTx/>
                <a:uFillTx/>
                <a:latin typeface="Arial" panose="020B0604020202020204"/>
                <a:ea typeface="+mn-ea"/>
                <a:cs typeface="+mn-cs"/>
              </a:rPr>
              <a:t>la gestion, l'EHS, l'engagement pour un enregistrement rapide et la tarification COGs-plus</a:t>
            </a:r>
          </a:p>
        </p:txBody>
      </p:sp>
      <p:sp>
        <p:nvSpPr>
          <p:cNvPr id="28" name="Rounded Rectangle 27">
            <a:extLst>
              <a:ext uri="{FF2B5EF4-FFF2-40B4-BE49-F238E27FC236}">
                <a16:creationId xmlns:a16="http://schemas.microsoft.com/office/drawing/2014/main" id="{050E0AAE-C104-0027-E374-6D5A81D1DC1A}"/>
              </a:ext>
            </a:extLst>
          </p:cNvPr>
          <p:cNvSpPr/>
          <p:nvPr/>
        </p:nvSpPr>
        <p:spPr>
          <a:xfrm>
            <a:off x="4469045" y="4508906"/>
            <a:ext cx="2239948" cy="1216217"/>
          </a:xfrm>
          <a:prstGeom prst="roundRect">
            <a:avLst>
              <a:gd name="adj" fmla="val 7879"/>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050" b="1" i="0" u="none" strike="noStrike" kern="1200" cap="none" spc="0" normalizeH="0" baseline="0" noProof="0" dirty="0">
                <a:ln>
                  <a:noFill/>
                </a:ln>
                <a:solidFill>
                  <a:srgbClr val="79A8B3"/>
                </a:solidFill>
                <a:effectLst/>
                <a:uLnTx/>
                <a:uFillTx/>
                <a:latin typeface="Arial" panose="020B0604020202020204"/>
                <a:ea typeface="+mn-ea"/>
                <a:cs typeface="+mn-cs"/>
              </a:rPr>
              <a:t>Mai 2023 : </a:t>
            </a:r>
            <a:r>
              <a:rPr kumimoji="0" lang="en-CH" sz="1050" b="1" i="0" u="none" strike="noStrike" kern="1200" cap="none" spc="0" normalizeH="0" baseline="0" noProof="0" dirty="0">
                <a:ln>
                  <a:noFill/>
                </a:ln>
                <a:solidFill>
                  <a:srgbClr val="0B1E2F"/>
                </a:solidFill>
                <a:effectLst/>
                <a:uLnTx/>
                <a:uFillTx/>
                <a:latin typeface="Arial" panose="020B0604020202020204"/>
                <a:ea typeface="+mn-ea"/>
                <a:cs typeface="+mn-cs"/>
              </a:rPr>
              <a:t>annonce </a:t>
            </a:r>
            <a:r>
              <a:rPr kumimoji="0" lang="en-CH" sz="1050" b="1" i="0" u="none" strike="noStrike" kern="1200" cap="none" spc="0" normalizeH="0" baseline="0" noProof="0" dirty="0" err="1">
                <a:ln>
                  <a:noFill/>
                </a:ln>
                <a:solidFill>
                  <a:srgbClr val="0B1E2F"/>
                </a:solidFill>
                <a:effectLst/>
                <a:uLnTx/>
                <a:uFillTx/>
                <a:latin typeface="Arial" panose="020B0604020202020204"/>
                <a:ea typeface="+mn-ea"/>
                <a:cs typeface="+mn-cs"/>
              </a:rPr>
              <a:t>d'une collaboration </a:t>
            </a:r>
            <a:r>
              <a:rPr kumimoji="0" lang="en-CH" sz="1050" b="1" i="0" u="none" strike="noStrike" kern="1200" cap="none" spc="0" normalizeH="0" baseline="0" noProof="0" dirty="0">
                <a:ln>
                  <a:noFill/>
                </a:ln>
                <a:solidFill>
                  <a:srgbClr val="0B1E2F"/>
                </a:solidFill>
                <a:effectLst/>
                <a:uLnTx/>
                <a:uFillTx/>
                <a:latin typeface="Arial" panose="020B0604020202020204"/>
                <a:ea typeface="+mn-ea"/>
                <a:cs typeface="+mn-cs"/>
              </a:rPr>
              <a:t>avec Global Drug Facility </a:t>
            </a:r>
            <a:r>
              <a:rPr kumimoji="0" lang="en-CH" sz="1050" b="0" i="0" u="none" strike="noStrike" kern="1200" cap="none" spc="0" normalizeH="0" baseline="0" noProof="0" dirty="0">
                <a:ln>
                  <a:noFill/>
                </a:ln>
                <a:solidFill>
                  <a:srgbClr val="0B1E2F"/>
                </a:solidFill>
                <a:effectLst/>
                <a:uLnTx/>
                <a:uFillTx/>
                <a:latin typeface="Arial" panose="020B0604020202020204"/>
                <a:ea typeface="+mn-ea"/>
                <a:cs typeface="+mn-cs"/>
              </a:rPr>
              <a:t>(GDF) pour l'achat groupé du portefeuille GARDP, y compris </a:t>
            </a:r>
            <a:r>
              <a:rPr kumimoji="0" lang="en-CH" sz="1050" b="0" i="0" u="none" strike="noStrike" kern="1200" cap="none" spc="0" normalizeH="0" baseline="0" noProof="0" dirty="0" err="1">
                <a:ln>
                  <a:noFill/>
                </a:ln>
                <a:solidFill>
                  <a:srgbClr val="0B1E2F"/>
                </a:solidFill>
                <a:effectLst/>
                <a:uLnTx/>
                <a:uFillTx/>
                <a:latin typeface="Arial" panose="020B0604020202020204"/>
                <a:ea typeface="+mn-ea"/>
                <a:cs typeface="+mn-cs"/>
              </a:rPr>
              <a:t>le Cefiderocol</a:t>
            </a:r>
            <a:endParaRPr kumimoji="0" lang="en-CH" sz="1050" b="0" i="0" u="none" strike="noStrike" kern="1200" cap="none" spc="0" normalizeH="0" baseline="0" noProof="0" dirty="0">
              <a:ln>
                <a:noFill/>
              </a:ln>
              <a:solidFill>
                <a:srgbClr val="0B1E2F"/>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47462C3F-B3A3-FB5F-7862-96181E4DBC0A}"/>
              </a:ext>
            </a:extLst>
          </p:cNvPr>
          <p:cNvGrpSpPr/>
          <p:nvPr/>
        </p:nvGrpSpPr>
        <p:grpSpPr>
          <a:xfrm>
            <a:off x="2103568" y="3553654"/>
            <a:ext cx="781025" cy="781025"/>
            <a:chOff x="1503780" y="3327728"/>
            <a:chExt cx="781025" cy="781025"/>
          </a:xfrm>
        </p:grpSpPr>
        <p:sp>
          <p:nvSpPr>
            <p:cNvPr id="9" name="Explosion: 14 Points 30">
              <a:extLst>
                <a:ext uri="{FF2B5EF4-FFF2-40B4-BE49-F238E27FC236}">
                  <a16:creationId xmlns:a16="http://schemas.microsoft.com/office/drawing/2014/main" id="{71957918-7904-E3A0-52E3-A2FB8ACB39FE}"/>
                </a:ext>
              </a:extLst>
            </p:cNvPr>
            <p:cNvSpPr>
              <a:spLocks noChangeAspect="1"/>
            </p:cNvSpPr>
            <p:nvPr/>
          </p:nvSpPr>
          <p:spPr>
            <a:xfrm>
              <a:off x="1503780" y="3327728"/>
              <a:ext cx="781025" cy="781025"/>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9A8B3"/>
                </a:solidFill>
                <a:effectLst/>
                <a:uLnTx/>
                <a:uFillTx/>
                <a:latin typeface="Arial" panose="020B0604020202020204"/>
                <a:ea typeface="+mn-ea"/>
                <a:cs typeface="+mn-cs"/>
              </a:endParaRPr>
            </a:p>
          </p:txBody>
        </p:sp>
        <p:sp>
          <p:nvSpPr>
            <p:cNvPr id="10" name="Oval 9">
              <a:extLst>
                <a:ext uri="{FF2B5EF4-FFF2-40B4-BE49-F238E27FC236}">
                  <a16:creationId xmlns:a16="http://schemas.microsoft.com/office/drawing/2014/main" id="{F499D979-2119-43C1-DE31-C9D2267A28C1}"/>
                </a:ext>
              </a:extLst>
            </p:cNvPr>
            <p:cNvSpPr>
              <a:spLocks noChangeAspect="1"/>
            </p:cNvSpPr>
            <p:nvPr/>
          </p:nvSpPr>
          <p:spPr>
            <a:xfrm>
              <a:off x="1588292" y="3412240"/>
              <a:ext cx="612000" cy="612000"/>
            </a:xfrm>
            <a:prstGeom prst="ellipse">
              <a:avLst/>
            </a:prstGeom>
            <a:noFill/>
            <a:ln w="730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5" name="Group 14">
            <a:extLst>
              <a:ext uri="{FF2B5EF4-FFF2-40B4-BE49-F238E27FC236}">
                <a16:creationId xmlns:a16="http://schemas.microsoft.com/office/drawing/2014/main" id="{CDD1A2FA-EA29-647F-4966-54951BA8756A}"/>
              </a:ext>
            </a:extLst>
          </p:cNvPr>
          <p:cNvGrpSpPr/>
          <p:nvPr/>
        </p:nvGrpSpPr>
        <p:grpSpPr>
          <a:xfrm>
            <a:off x="5322379" y="3553654"/>
            <a:ext cx="781025" cy="781025"/>
            <a:chOff x="1503780" y="3327728"/>
            <a:chExt cx="781025" cy="781025"/>
          </a:xfrm>
        </p:grpSpPr>
        <p:sp>
          <p:nvSpPr>
            <p:cNvPr id="16" name="Explosion: 14 Points 30">
              <a:extLst>
                <a:ext uri="{FF2B5EF4-FFF2-40B4-BE49-F238E27FC236}">
                  <a16:creationId xmlns:a16="http://schemas.microsoft.com/office/drawing/2014/main" id="{7C1A792B-3492-BFBD-CB13-3BAFFA247D0D}"/>
                </a:ext>
              </a:extLst>
            </p:cNvPr>
            <p:cNvSpPr>
              <a:spLocks noChangeAspect="1"/>
            </p:cNvSpPr>
            <p:nvPr/>
          </p:nvSpPr>
          <p:spPr>
            <a:xfrm>
              <a:off x="1503780" y="3327728"/>
              <a:ext cx="781025" cy="781025"/>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9A8B3"/>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E7B112A0-5D90-F1DB-ACDC-D45D82E17C53}"/>
                </a:ext>
              </a:extLst>
            </p:cNvPr>
            <p:cNvSpPr>
              <a:spLocks noChangeAspect="1"/>
            </p:cNvSpPr>
            <p:nvPr/>
          </p:nvSpPr>
          <p:spPr>
            <a:xfrm>
              <a:off x="1588292" y="3412240"/>
              <a:ext cx="612000" cy="612000"/>
            </a:xfrm>
            <a:prstGeom prst="ellipse">
              <a:avLst/>
            </a:prstGeom>
            <a:noFill/>
            <a:ln w="730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8" name="Group 17">
            <a:extLst>
              <a:ext uri="{FF2B5EF4-FFF2-40B4-BE49-F238E27FC236}">
                <a16:creationId xmlns:a16="http://schemas.microsoft.com/office/drawing/2014/main" id="{45A1BB80-A953-EC56-9B63-B19DB10C4DB5}"/>
              </a:ext>
            </a:extLst>
          </p:cNvPr>
          <p:cNvGrpSpPr/>
          <p:nvPr/>
        </p:nvGrpSpPr>
        <p:grpSpPr>
          <a:xfrm>
            <a:off x="7575261" y="3553654"/>
            <a:ext cx="781025" cy="781025"/>
            <a:chOff x="1503780" y="3327728"/>
            <a:chExt cx="781025" cy="781025"/>
          </a:xfrm>
        </p:grpSpPr>
        <p:sp>
          <p:nvSpPr>
            <p:cNvPr id="31" name="Explosion: 14 Points 30">
              <a:extLst>
                <a:ext uri="{FF2B5EF4-FFF2-40B4-BE49-F238E27FC236}">
                  <a16:creationId xmlns:a16="http://schemas.microsoft.com/office/drawing/2014/main" id="{373D4045-EAE1-C8AE-8453-109C9E011DBB}"/>
                </a:ext>
              </a:extLst>
            </p:cNvPr>
            <p:cNvSpPr>
              <a:spLocks noChangeAspect="1"/>
            </p:cNvSpPr>
            <p:nvPr/>
          </p:nvSpPr>
          <p:spPr>
            <a:xfrm>
              <a:off x="1503780" y="3327728"/>
              <a:ext cx="781025" cy="781025"/>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9A8B3"/>
                </a:solidFill>
                <a:effectLst/>
                <a:uLnTx/>
                <a:uFillTx/>
                <a:latin typeface="Arial" panose="020B0604020202020204"/>
                <a:ea typeface="+mn-ea"/>
                <a:cs typeface="+mn-cs"/>
              </a:endParaRPr>
            </a:p>
          </p:txBody>
        </p:sp>
        <p:sp>
          <p:nvSpPr>
            <p:cNvPr id="33" name="Oval 32">
              <a:extLst>
                <a:ext uri="{FF2B5EF4-FFF2-40B4-BE49-F238E27FC236}">
                  <a16:creationId xmlns:a16="http://schemas.microsoft.com/office/drawing/2014/main" id="{19CA4CF8-2031-C90B-57BF-1A47F6B76407}"/>
                </a:ext>
              </a:extLst>
            </p:cNvPr>
            <p:cNvSpPr>
              <a:spLocks noChangeAspect="1"/>
            </p:cNvSpPr>
            <p:nvPr/>
          </p:nvSpPr>
          <p:spPr>
            <a:xfrm>
              <a:off x="1588292" y="3412240"/>
              <a:ext cx="612000" cy="612000"/>
            </a:xfrm>
            <a:prstGeom prst="ellipse">
              <a:avLst/>
            </a:prstGeom>
            <a:noFill/>
            <a:ln w="730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58" name="Group 57">
            <a:extLst>
              <a:ext uri="{FF2B5EF4-FFF2-40B4-BE49-F238E27FC236}">
                <a16:creationId xmlns:a16="http://schemas.microsoft.com/office/drawing/2014/main" id="{A380CA4D-1C5E-8031-C65C-538F3DFA9D29}"/>
              </a:ext>
            </a:extLst>
          </p:cNvPr>
          <p:cNvGrpSpPr>
            <a:grpSpLocks noChangeAspect="1"/>
          </p:cNvGrpSpPr>
          <p:nvPr/>
        </p:nvGrpSpPr>
        <p:grpSpPr>
          <a:xfrm rot="5400000">
            <a:off x="2386079" y="4299008"/>
            <a:ext cx="216002" cy="216000"/>
            <a:chOff x="6127603" y="3794907"/>
            <a:chExt cx="167448" cy="167446"/>
          </a:xfrm>
        </p:grpSpPr>
        <p:sp>
          <p:nvSpPr>
            <p:cNvPr id="60" name="Oval 59">
              <a:extLst>
                <a:ext uri="{FF2B5EF4-FFF2-40B4-BE49-F238E27FC236}">
                  <a16:creationId xmlns:a16="http://schemas.microsoft.com/office/drawing/2014/main" id="{0F735AD3-0FAB-DE35-F3C9-072C51203990}"/>
                </a:ext>
              </a:extLst>
            </p:cNvPr>
            <p:cNvSpPr/>
            <p:nvPr/>
          </p:nvSpPr>
          <p:spPr>
            <a:xfrm rot="10800000">
              <a:off x="6127603" y="3794907"/>
              <a:ext cx="167448" cy="16744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1" name="Graphic 60">
              <a:extLst>
                <a:ext uri="{FF2B5EF4-FFF2-40B4-BE49-F238E27FC236}">
                  <a16:creationId xmlns:a16="http://schemas.microsoft.com/office/drawing/2014/main" id="{9B9D02C8-9D89-D974-2CB5-F6DBC3C982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6169003" y="3847326"/>
              <a:ext cx="78567" cy="62608"/>
            </a:xfrm>
            <a:prstGeom prst="rect">
              <a:avLst/>
            </a:prstGeom>
          </p:spPr>
        </p:pic>
      </p:grpSp>
      <p:grpSp>
        <p:nvGrpSpPr>
          <p:cNvPr id="67" name="Group 66">
            <a:extLst>
              <a:ext uri="{FF2B5EF4-FFF2-40B4-BE49-F238E27FC236}">
                <a16:creationId xmlns:a16="http://schemas.microsoft.com/office/drawing/2014/main" id="{4194EE8B-6E68-05C1-9942-5162EDC4C422}"/>
              </a:ext>
            </a:extLst>
          </p:cNvPr>
          <p:cNvGrpSpPr>
            <a:grpSpLocks noChangeAspect="1"/>
          </p:cNvGrpSpPr>
          <p:nvPr/>
        </p:nvGrpSpPr>
        <p:grpSpPr>
          <a:xfrm rot="16200000">
            <a:off x="2386079" y="3375482"/>
            <a:ext cx="216002" cy="216000"/>
            <a:chOff x="6127603" y="3794907"/>
            <a:chExt cx="167448" cy="167446"/>
          </a:xfrm>
        </p:grpSpPr>
        <p:sp>
          <p:nvSpPr>
            <p:cNvPr id="69" name="Oval 68">
              <a:extLst>
                <a:ext uri="{FF2B5EF4-FFF2-40B4-BE49-F238E27FC236}">
                  <a16:creationId xmlns:a16="http://schemas.microsoft.com/office/drawing/2014/main" id="{EF0CE0B2-3DC2-9362-4E47-7778BB1D247D}"/>
                </a:ext>
              </a:extLst>
            </p:cNvPr>
            <p:cNvSpPr/>
            <p:nvPr/>
          </p:nvSpPr>
          <p:spPr>
            <a:xfrm rot="10800000">
              <a:off x="6127603" y="3794907"/>
              <a:ext cx="167448" cy="16744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70" name="Graphic 69">
              <a:extLst>
                <a:ext uri="{FF2B5EF4-FFF2-40B4-BE49-F238E27FC236}">
                  <a16:creationId xmlns:a16="http://schemas.microsoft.com/office/drawing/2014/main" id="{83558F5D-AD18-784C-6AC9-52441BAFB4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6169003" y="3847326"/>
              <a:ext cx="78567" cy="62608"/>
            </a:xfrm>
            <a:prstGeom prst="rect">
              <a:avLst/>
            </a:prstGeom>
          </p:spPr>
        </p:pic>
      </p:grpSp>
      <p:grpSp>
        <p:nvGrpSpPr>
          <p:cNvPr id="83" name="Group 82">
            <a:extLst>
              <a:ext uri="{FF2B5EF4-FFF2-40B4-BE49-F238E27FC236}">
                <a16:creationId xmlns:a16="http://schemas.microsoft.com/office/drawing/2014/main" id="{84C30DB6-3EBC-6ED6-9CFF-7044D139350C}"/>
              </a:ext>
            </a:extLst>
          </p:cNvPr>
          <p:cNvGrpSpPr>
            <a:grpSpLocks noChangeAspect="1"/>
          </p:cNvGrpSpPr>
          <p:nvPr/>
        </p:nvGrpSpPr>
        <p:grpSpPr>
          <a:xfrm rot="5400000">
            <a:off x="5604890" y="4299008"/>
            <a:ext cx="216002" cy="216000"/>
            <a:chOff x="6127603" y="3794907"/>
            <a:chExt cx="167448" cy="167446"/>
          </a:xfrm>
        </p:grpSpPr>
        <p:sp>
          <p:nvSpPr>
            <p:cNvPr id="84" name="Oval 83">
              <a:extLst>
                <a:ext uri="{FF2B5EF4-FFF2-40B4-BE49-F238E27FC236}">
                  <a16:creationId xmlns:a16="http://schemas.microsoft.com/office/drawing/2014/main" id="{836FAB31-071D-E44B-9020-0C7DB6030AED}"/>
                </a:ext>
              </a:extLst>
            </p:cNvPr>
            <p:cNvSpPr/>
            <p:nvPr/>
          </p:nvSpPr>
          <p:spPr>
            <a:xfrm rot="10800000">
              <a:off x="6127603" y="3794907"/>
              <a:ext cx="167448" cy="16744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85" name="Graphic 84">
              <a:extLst>
                <a:ext uri="{FF2B5EF4-FFF2-40B4-BE49-F238E27FC236}">
                  <a16:creationId xmlns:a16="http://schemas.microsoft.com/office/drawing/2014/main" id="{36C5530D-499F-C4EA-1575-5D70B9BB35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6169003" y="3847326"/>
              <a:ext cx="78567" cy="62608"/>
            </a:xfrm>
            <a:prstGeom prst="rect">
              <a:avLst/>
            </a:prstGeom>
          </p:spPr>
        </p:pic>
      </p:grpSp>
      <p:grpSp>
        <p:nvGrpSpPr>
          <p:cNvPr id="93" name="Group 92">
            <a:extLst>
              <a:ext uri="{FF2B5EF4-FFF2-40B4-BE49-F238E27FC236}">
                <a16:creationId xmlns:a16="http://schemas.microsoft.com/office/drawing/2014/main" id="{451D3093-CF12-572A-9FB0-90C4693B1289}"/>
              </a:ext>
            </a:extLst>
          </p:cNvPr>
          <p:cNvGrpSpPr>
            <a:grpSpLocks noChangeAspect="1"/>
          </p:cNvGrpSpPr>
          <p:nvPr/>
        </p:nvGrpSpPr>
        <p:grpSpPr>
          <a:xfrm rot="16200000">
            <a:off x="7894089" y="3375482"/>
            <a:ext cx="216002" cy="216000"/>
            <a:chOff x="6127603" y="3794907"/>
            <a:chExt cx="167448" cy="167446"/>
          </a:xfrm>
        </p:grpSpPr>
        <p:sp>
          <p:nvSpPr>
            <p:cNvPr id="94" name="Oval 93">
              <a:extLst>
                <a:ext uri="{FF2B5EF4-FFF2-40B4-BE49-F238E27FC236}">
                  <a16:creationId xmlns:a16="http://schemas.microsoft.com/office/drawing/2014/main" id="{E8F99CC9-02AE-42D2-E149-03A9412C4A74}"/>
                </a:ext>
              </a:extLst>
            </p:cNvPr>
            <p:cNvSpPr/>
            <p:nvPr/>
          </p:nvSpPr>
          <p:spPr>
            <a:xfrm rot="10800000">
              <a:off x="6127603" y="3794907"/>
              <a:ext cx="167448" cy="16744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5" name="Graphic 94">
              <a:extLst>
                <a:ext uri="{FF2B5EF4-FFF2-40B4-BE49-F238E27FC236}">
                  <a16:creationId xmlns:a16="http://schemas.microsoft.com/office/drawing/2014/main" id="{40AF57F1-FE95-70EE-7505-B67FD253AA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6169003" y="3847326"/>
              <a:ext cx="78567" cy="62608"/>
            </a:xfrm>
            <a:prstGeom prst="rect">
              <a:avLst/>
            </a:prstGeom>
          </p:spPr>
        </p:pic>
      </p:grpSp>
      <p:grpSp>
        <p:nvGrpSpPr>
          <p:cNvPr id="68" name="Group 67">
            <a:extLst>
              <a:ext uri="{FF2B5EF4-FFF2-40B4-BE49-F238E27FC236}">
                <a16:creationId xmlns:a16="http://schemas.microsoft.com/office/drawing/2014/main" id="{B35AA070-3F5D-6E9B-1310-00A8262929A5}"/>
              </a:ext>
            </a:extLst>
          </p:cNvPr>
          <p:cNvGrpSpPr/>
          <p:nvPr/>
        </p:nvGrpSpPr>
        <p:grpSpPr>
          <a:xfrm>
            <a:off x="6960571" y="2050783"/>
            <a:ext cx="324000" cy="324000"/>
            <a:chOff x="583485" y="1861100"/>
            <a:chExt cx="324000" cy="324000"/>
          </a:xfrm>
        </p:grpSpPr>
        <p:sp>
          <p:nvSpPr>
            <p:cNvPr id="72" name="Oval 71">
              <a:extLst>
                <a:ext uri="{FF2B5EF4-FFF2-40B4-BE49-F238E27FC236}">
                  <a16:creationId xmlns:a16="http://schemas.microsoft.com/office/drawing/2014/main" id="{C38F263F-C35C-C05C-0566-099B7C318658}"/>
                </a:ext>
              </a:extLst>
            </p:cNvPr>
            <p:cNvSpPr>
              <a:spLocks noChangeAspect="1"/>
            </p:cNvSpPr>
            <p:nvPr/>
          </p:nvSpPr>
          <p:spPr>
            <a:xfrm>
              <a:off x="583485" y="1861100"/>
              <a:ext cx="324000" cy="324000"/>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O" sz="1000" b="1" i="0" u="none" strike="noStrike" kern="1200" cap="none" spc="0" normalizeH="0" baseline="0" noProof="0">
                <a:ln>
                  <a:noFill/>
                </a:ln>
                <a:solidFill>
                  <a:srgbClr val="79A8B3"/>
                </a:solidFill>
                <a:effectLst/>
                <a:uLnTx/>
                <a:uFillTx/>
                <a:latin typeface="Arial" panose="020B0604020202020204"/>
                <a:ea typeface="+mn-ea"/>
                <a:cs typeface="+mn-cs"/>
              </a:endParaRPr>
            </a:p>
          </p:txBody>
        </p:sp>
        <p:pic>
          <p:nvPicPr>
            <p:cNvPr id="75" name="Graphic 74">
              <a:extLst>
                <a:ext uri="{FF2B5EF4-FFF2-40B4-BE49-F238E27FC236}">
                  <a16:creationId xmlns:a16="http://schemas.microsoft.com/office/drawing/2014/main" id="{3CA95299-C80F-D9D7-9D62-E9D813E336B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3485" y="1951100"/>
              <a:ext cx="144000" cy="144000"/>
            </a:xfrm>
            <a:prstGeom prst="rect">
              <a:avLst/>
            </a:prstGeom>
          </p:spPr>
        </p:pic>
      </p:grpSp>
      <p:grpSp>
        <p:nvGrpSpPr>
          <p:cNvPr id="100" name="Group 99">
            <a:extLst>
              <a:ext uri="{FF2B5EF4-FFF2-40B4-BE49-F238E27FC236}">
                <a16:creationId xmlns:a16="http://schemas.microsoft.com/office/drawing/2014/main" id="{34B58A2C-4EC0-8069-EFE3-D6E44C2228B1}"/>
              </a:ext>
            </a:extLst>
          </p:cNvPr>
          <p:cNvGrpSpPr/>
          <p:nvPr/>
        </p:nvGrpSpPr>
        <p:grpSpPr>
          <a:xfrm>
            <a:off x="4274878" y="5505183"/>
            <a:ext cx="324000" cy="324000"/>
            <a:chOff x="583485" y="1861100"/>
            <a:chExt cx="324000" cy="324000"/>
          </a:xfrm>
        </p:grpSpPr>
        <p:sp>
          <p:nvSpPr>
            <p:cNvPr id="101" name="Oval 100">
              <a:extLst>
                <a:ext uri="{FF2B5EF4-FFF2-40B4-BE49-F238E27FC236}">
                  <a16:creationId xmlns:a16="http://schemas.microsoft.com/office/drawing/2014/main" id="{8F792FAA-1B14-40B9-A580-861CBC978DDE}"/>
                </a:ext>
              </a:extLst>
            </p:cNvPr>
            <p:cNvSpPr>
              <a:spLocks noChangeAspect="1"/>
            </p:cNvSpPr>
            <p:nvPr/>
          </p:nvSpPr>
          <p:spPr>
            <a:xfrm>
              <a:off x="583485" y="1861100"/>
              <a:ext cx="324000" cy="324000"/>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O" sz="1000" b="1" i="0" u="none" strike="noStrike" kern="1200" cap="none" spc="0" normalizeH="0" baseline="0" noProof="0">
                <a:ln>
                  <a:noFill/>
                </a:ln>
                <a:solidFill>
                  <a:srgbClr val="79A8B3"/>
                </a:solidFill>
                <a:effectLst/>
                <a:uLnTx/>
                <a:uFillTx/>
                <a:latin typeface="Arial" panose="020B0604020202020204"/>
                <a:ea typeface="+mn-ea"/>
                <a:cs typeface="+mn-cs"/>
              </a:endParaRPr>
            </a:p>
          </p:txBody>
        </p:sp>
        <p:pic>
          <p:nvPicPr>
            <p:cNvPr id="102" name="Graphic 101">
              <a:extLst>
                <a:ext uri="{FF2B5EF4-FFF2-40B4-BE49-F238E27FC236}">
                  <a16:creationId xmlns:a16="http://schemas.microsoft.com/office/drawing/2014/main" id="{A32E3754-C343-3745-6F00-391572556F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3485" y="1951100"/>
              <a:ext cx="144000" cy="144000"/>
            </a:xfrm>
            <a:prstGeom prst="rect">
              <a:avLst/>
            </a:prstGeom>
          </p:spPr>
        </p:pic>
      </p:grpSp>
      <p:pic>
        <p:nvPicPr>
          <p:cNvPr id="106" name="Google Shape;60;p15">
            <a:extLst>
              <a:ext uri="{FF2B5EF4-FFF2-40B4-BE49-F238E27FC236}">
                <a16:creationId xmlns:a16="http://schemas.microsoft.com/office/drawing/2014/main" id="{CEEAA910-29B6-E111-C545-9715574495D9}"/>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802468" y="3987828"/>
            <a:ext cx="1809298" cy="1822129"/>
          </a:xfrm>
          <a:prstGeom prst="rect">
            <a:avLst/>
          </a:prstGeom>
          <a:noFill/>
          <a:ln>
            <a:noFill/>
          </a:ln>
        </p:spPr>
      </p:pic>
      <p:sp>
        <p:nvSpPr>
          <p:cNvPr id="12" name="TextBox 11">
            <a:extLst>
              <a:ext uri="{FF2B5EF4-FFF2-40B4-BE49-F238E27FC236}">
                <a16:creationId xmlns:a16="http://schemas.microsoft.com/office/drawing/2014/main" id="{2526BB6F-2CE4-218F-9D4B-B8D4CD5115FA}"/>
              </a:ext>
            </a:extLst>
          </p:cNvPr>
          <p:cNvSpPr txBox="1"/>
          <p:nvPr/>
        </p:nvSpPr>
        <p:spPr>
          <a:xfrm>
            <a:off x="388598" y="792467"/>
            <a:ext cx="10486417" cy="577081"/>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H" sz="3500" b="1" i="0" u="none" strike="noStrike" kern="1200" cap="none" spc="0" normalizeH="0" baseline="0" noProof="0" err="1">
                <a:ln>
                  <a:noFill/>
                </a:ln>
                <a:solidFill>
                  <a:srgbClr val="0D1F2F"/>
                </a:solidFill>
                <a:effectLst/>
                <a:uLnTx/>
                <a:uFillTx/>
                <a:latin typeface="Arial" panose="020B0604020202020204" pitchFamily="34" charset="0"/>
                <a:ea typeface="+mn-ea"/>
                <a:cs typeface="Arial" panose="020B0604020202020204" pitchFamily="34" charset="0"/>
                <a:sym typeface="Arial"/>
              </a:rPr>
              <a:t>Le céfiderocol</a:t>
            </a:r>
            <a:r>
              <a:rPr kumimoji="0" lang="en-CH" sz="3500" b="1" i="0" u="none" strike="noStrike" kern="1200" cap="none" spc="0" normalizeH="0" baseline="0" noProof="0">
                <a:ln>
                  <a:noFill/>
                </a:ln>
                <a:solidFill>
                  <a:srgbClr val="0D1F2F"/>
                </a:solidFill>
                <a:effectLst/>
                <a:uLnTx/>
                <a:uFillTx/>
                <a:latin typeface="Arial" panose="020B0604020202020204" pitchFamily="34" charset="0"/>
                <a:ea typeface="+mn-ea"/>
                <a:cs typeface="Arial" panose="020B0604020202020204" pitchFamily="34" charset="0"/>
                <a:sym typeface="Arial"/>
              </a:rPr>
              <a:t>, un pionnier en matière d'accès</a:t>
            </a:r>
            <a:endParaRPr kumimoji="0" lang="en-US" sz="3500" b="1" i="0" u="none" strike="noStrike" kern="1200" cap="none" spc="0" normalizeH="0" baseline="0" noProof="0">
              <a:ln>
                <a:noFill/>
              </a:ln>
              <a:solidFill>
                <a:srgbClr val="0D1F2F"/>
              </a:solidFill>
              <a:effectLst/>
              <a:uLnTx/>
              <a:uFillTx/>
              <a:latin typeface="Arial" panose="020B0604020202020204" pitchFamily="34" charset="0"/>
              <a:ea typeface="+mn-ea"/>
              <a:cs typeface="Arial" panose="020B0604020202020204" pitchFamily="34" charset="0"/>
              <a:sym typeface="Arial"/>
            </a:endParaRPr>
          </a:p>
        </p:txBody>
      </p:sp>
      <p:sp>
        <p:nvSpPr>
          <p:cNvPr id="13" name="Rounded Rectangle 25">
            <a:extLst>
              <a:ext uri="{FF2B5EF4-FFF2-40B4-BE49-F238E27FC236}">
                <a16:creationId xmlns:a16="http://schemas.microsoft.com/office/drawing/2014/main" id="{478CCB45-C3D3-0FF3-5214-A6DCBABBC974}"/>
              </a:ext>
            </a:extLst>
          </p:cNvPr>
          <p:cNvSpPr/>
          <p:nvPr/>
        </p:nvSpPr>
        <p:spPr>
          <a:xfrm>
            <a:off x="3873045" y="2166505"/>
            <a:ext cx="2698801" cy="1216217"/>
          </a:xfrm>
          <a:prstGeom prst="roundRect">
            <a:avLst>
              <a:gd name="adj" fmla="val 6903"/>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79A8B3"/>
                </a:solidFill>
                <a:effectLst/>
                <a:uLnTx/>
                <a:uFillTx/>
                <a:latin typeface="Arial" panose="020B0604020202020204"/>
                <a:ea typeface="+mn-ea"/>
                <a:cs typeface="+mn-cs"/>
              </a:rPr>
              <a:t>Avril 2023 </a:t>
            </a:r>
            <a:r>
              <a:rPr kumimoji="0" lang="en-US" sz="1050" b="0" i="0" u="none" strike="noStrike" kern="1200" cap="none" spc="0" normalizeH="0" baseline="0" noProof="0" dirty="0">
                <a:ln>
                  <a:noFill/>
                </a:ln>
                <a:solidFill>
                  <a:srgbClr val="79A8B3"/>
                </a:solidFill>
                <a:effectLst/>
                <a:uLnTx/>
                <a:uFillTx/>
                <a:latin typeface="Arial" panose="020B0604020202020204"/>
                <a:ea typeface="+mn-ea"/>
                <a:cs typeface="+mn-cs"/>
              </a:rPr>
              <a:t>: </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L'OMS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publie</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une</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déclaration</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d'intérêt</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invitant</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les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candidats</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à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déposer</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une</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demande</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d'enregistrement</a:t>
            </a:r>
            <a:r>
              <a:rPr kumimoji="0" lang="en-US" sz="1050" b="1" i="0" u="none" strike="noStrike" kern="1200" cap="none" spc="0" normalizeH="0" baseline="0" noProof="0" dirty="0">
                <a:ln>
                  <a:noFill/>
                </a:ln>
                <a:solidFill>
                  <a:srgbClr val="0B1E2F"/>
                </a:solidFill>
                <a:effectLst/>
                <a:uLnTx/>
                <a:uFillTx/>
                <a:latin typeface="Arial" panose="020B0604020202020204"/>
                <a:ea typeface="+mn-ea"/>
                <a:cs typeface="+mn-cs"/>
              </a:rPr>
              <a:t> PQ pour le </a:t>
            </a:r>
            <a:r>
              <a:rPr kumimoji="0" lang="en-US" sz="1050" b="1" i="0" u="none" strike="noStrike" kern="1200" cap="none" spc="0" normalizeH="0" baseline="0" noProof="0" dirty="0" err="1">
                <a:ln>
                  <a:noFill/>
                </a:ln>
                <a:solidFill>
                  <a:srgbClr val="0B1E2F"/>
                </a:solidFill>
                <a:effectLst/>
                <a:uLnTx/>
                <a:uFillTx/>
                <a:latin typeface="Arial" panose="020B0604020202020204"/>
                <a:ea typeface="+mn-ea"/>
                <a:cs typeface="+mn-cs"/>
              </a:rPr>
              <a:t>Cefiderocol</a:t>
            </a:r>
            <a:endParaRPr kumimoji="0" lang="en-GB" sz="1050" b="1" i="0" u="none" strike="noStrike" kern="1200" cap="none" spc="0" normalizeH="0" baseline="0" noProof="0" dirty="0">
              <a:ln>
                <a:noFill/>
              </a:ln>
              <a:solidFill>
                <a:srgbClr val="0B1E2F"/>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62907FCC-6C6C-F5C9-05F4-3F244C5EF4E6}"/>
              </a:ext>
            </a:extLst>
          </p:cNvPr>
          <p:cNvGrpSpPr>
            <a:grpSpLocks noChangeAspect="1"/>
          </p:cNvGrpSpPr>
          <p:nvPr/>
        </p:nvGrpSpPr>
        <p:grpSpPr>
          <a:xfrm rot="16200000">
            <a:off x="5593034" y="3371090"/>
            <a:ext cx="216002" cy="192288"/>
            <a:chOff x="6127603" y="3794907"/>
            <a:chExt cx="167448" cy="167446"/>
          </a:xfrm>
        </p:grpSpPr>
        <p:sp>
          <p:nvSpPr>
            <p:cNvPr id="21" name="Oval 20">
              <a:extLst>
                <a:ext uri="{FF2B5EF4-FFF2-40B4-BE49-F238E27FC236}">
                  <a16:creationId xmlns:a16="http://schemas.microsoft.com/office/drawing/2014/main" id="{A55E6192-A829-A954-4B2E-A0BB9B43CD93}"/>
                </a:ext>
              </a:extLst>
            </p:cNvPr>
            <p:cNvSpPr/>
            <p:nvPr/>
          </p:nvSpPr>
          <p:spPr>
            <a:xfrm rot="10800000">
              <a:off x="6127603" y="3794907"/>
              <a:ext cx="167448" cy="16744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22" name="Graphic 21">
              <a:extLst>
                <a:ext uri="{FF2B5EF4-FFF2-40B4-BE49-F238E27FC236}">
                  <a16:creationId xmlns:a16="http://schemas.microsoft.com/office/drawing/2014/main" id="{FF4963C5-8F37-86D7-5E56-10DCD00415DB}"/>
                </a:ext>
              </a:extLst>
            </p:cNvPr>
            <p:cNvPicPr>
              <a:picLocks noChangeAspect="1"/>
            </p:cNvPicPr>
            <p:nvPr/>
          </p:nvPicPr>
          <p:blipFill>
            <a:blip r:embed="rId3">
              <a:extLst>
                <a:ext uri="{96DAC541-7B7A-43D3-8B79-37D633B846F1}">
                  <asvg:svgBlip xmlns:asvg="http://schemas.microsoft.com/office/drawing/2016/SVG/main" r:embed="rId8"/>
                </a:ext>
              </a:extLst>
            </a:blip>
            <a:stretch>
              <a:fillRect/>
            </a:stretch>
          </p:blipFill>
          <p:spPr>
            <a:xfrm rot="10800000">
              <a:off x="6169003" y="3847326"/>
              <a:ext cx="78567" cy="62608"/>
            </a:xfrm>
            <a:prstGeom prst="rect">
              <a:avLst/>
            </a:prstGeom>
          </p:spPr>
        </p:pic>
      </p:grpSp>
      <p:grpSp>
        <p:nvGrpSpPr>
          <p:cNvPr id="23" name="Group 22">
            <a:extLst>
              <a:ext uri="{FF2B5EF4-FFF2-40B4-BE49-F238E27FC236}">
                <a16:creationId xmlns:a16="http://schemas.microsoft.com/office/drawing/2014/main" id="{2D274AB4-18B0-75A4-FAC3-14604EB3F461}"/>
              </a:ext>
            </a:extLst>
          </p:cNvPr>
          <p:cNvGrpSpPr/>
          <p:nvPr/>
        </p:nvGrpSpPr>
        <p:grpSpPr>
          <a:xfrm>
            <a:off x="4350715" y="3208132"/>
            <a:ext cx="288433" cy="324000"/>
            <a:chOff x="583485" y="1861100"/>
            <a:chExt cx="324000" cy="324000"/>
          </a:xfrm>
        </p:grpSpPr>
        <p:sp>
          <p:nvSpPr>
            <p:cNvPr id="24" name="Oval 23">
              <a:extLst>
                <a:ext uri="{FF2B5EF4-FFF2-40B4-BE49-F238E27FC236}">
                  <a16:creationId xmlns:a16="http://schemas.microsoft.com/office/drawing/2014/main" id="{6256EBCE-AE71-2FE7-A747-30905A6A877C}"/>
                </a:ext>
              </a:extLst>
            </p:cNvPr>
            <p:cNvSpPr>
              <a:spLocks noChangeAspect="1"/>
            </p:cNvSpPr>
            <p:nvPr/>
          </p:nvSpPr>
          <p:spPr>
            <a:xfrm>
              <a:off x="583485" y="1861100"/>
              <a:ext cx="324000" cy="324000"/>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O" sz="1000" b="1" i="0" u="none" strike="noStrike" kern="1200" cap="none" spc="0" normalizeH="0" baseline="0" noProof="0">
                <a:ln>
                  <a:noFill/>
                </a:ln>
                <a:solidFill>
                  <a:srgbClr val="79A8B3"/>
                </a:solidFill>
                <a:effectLst/>
                <a:uLnTx/>
                <a:uFillTx/>
                <a:latin typeface="Arial" panose="020B0604020202020204"/>
                <a:ea typeface="+mn-ea"/>
                <a:cs typeface="+mn-cs"/>
              </a:endParaRPr>
            </a:p>
          </p:txBody>
        </p:sp>
        <p:pic>
          <p:nvPicPr>
            <p:cNvPr id="29" name="Graphic 28">
              <a:extLst>
                <a:ext uri="{FF2B5EF4-FFF2-40B4-BE49-F238E27FC236}">
                  <a16:creationId xmlns:a16="http://schemas.microsoft.com/office/drawing/2014/main" id="{F5445EB6-2570-A930-1633-8849896B4F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3485" y="1951100"/>
              <a:ext cx="144000" cy="144000"/>
            </a:xfrm>
            <a:prstGeom prst="rect">
              <a:avLst/>
            </a:prstGeom>
          </p:spPr>
        </p:pic>
      </p:grpSp>
      <p:cxnSp>
        <p:nvCxnSpPr>
          <p:cNvPr id="25" name="Straight Connector 24">
            <a:extLst>
              <a:ext uri="{FF2B5EF4-FFF2-40B4-BE49-F238E27FC236}">
                <a16:creationId xmlns:a16="http://schemas.microsoft.com/office/drawing/2014/main" id="{7F159DE9-EE5F-2FCC-842F-D826908892C5}"/>
              </a:ext>
            </a:extLst>
          </p:cNvPr>
          <p:cNvCxnSpPr/>
          <p:nvPr/>
        </p:nvCxnSpPr>
        <p:spPr>
          <a:xfrm>
            <a:off x="540837" y="1494442"/>
            <a:ext cx="3600000" cy="0"/>
          </a:xfrm>
          <a:prstGeom prst="line">
            <a:avLst/>
          </a:prstGeom>
          <a:noFill/>
          <a:ln w="19050" cap="flat" cmpd="sng" algn="ctr">
            <a:solidFill>
              <a:srgbClr val="0B6377"/>
            </a:solidFill>
            <a:prstDash val="solid"/>
          </a:ln>
          <a:effectLst/>
        </p:spPr>
      </p:cxnSp>
      <p:sp>
        <p:nvSpPr>
          <p:cNvPr id="26" name="Rounded Rectangle 27">
            <a:extLst>
              <a:ext uri="{FF2B5EF4-FFF2-40B4-BE49-F238E27FC236}">
                <a16:creationId xmlns:a16="http://schemas.microsoft.com/office/drawing/2014/main" id="{0B3DC56C-3547-2773-F862-C44198D0213F}"/>
              </a:ext>
            </a:extLst>
          </p:cNvPr>
          <p:cNvSpPr/>
          <p:nvPr/>
        </p:nvSpPr>
        <p:spPr>
          <a:xfrm>
            <a:off x="6813160" y="4560153"/>
            <a:ext cx="2239948" cy="1216217"/>
          </a:xfrm>
          <a:prstGeom prst="roundRect">
            <a:avLst>
              <a:gd name="adj" fmla="val 7879"/>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050" b="1" i="0" u="none" strike="noStrike" kern="1200" cap="none" spc="0" normalizeH="0" baseline="0" noProof="0" dirty="0">
                <a:ln>
                  <a:noFill/>
                </a:ln>
                <a:solidFill>
                  <a:srgbClr val="79A8B3"/>
                </a:solidFill>
                <a:effectLst/>
                <a:uLnTx/>
                <a:uFillTx/>
                <a:latin typeface="Arial" panose="020B0604020202020204"/>
                <a:ea typeface="+mn-ea"/>
                <a:cs typeface="+mn-cs"/>
              </a:rPr>
              <a:t>Novembre 2023 : </a:t>
            </a:r>
            <a:r>
              <a:rPr kumimoji="0" lang="en-CH" sz="1050" b="1" i="0" u="none" strike="noStrike" kern="1200" cap="none" spc="0" normalizeH="0" baseline="0" noProof="0" dirty="0">
                <a:ln>
                  <a:noFill/>
                </a:ln>
                <a:solidFill>
                  <a:srgbClr val="0B1E2F"/>
                </a:solidFill>
                <a:effectLst/>
                <a:uLnTx/>
                <a:uFillTx/>
                <a:latin typeface="Arial" panose="020B0604020202020204"/>
                <a:ea typeface="+mn-ea"/>
                <a:cs typeface="+mn-cs"/>
              </a:rPr>
              <a:t>Lancement du transfert de technologie </a:t>
            </a:r>
            <a:r>
              <a:rPr kumimoji="0" lang="en-CH" sz="1050" b="0" i="0" u="none" strike="noStrike" kern="1200" cap="none" spc="0" normalizeH="0" baseline="0" noProof="0" dirty="0">
                <a:ln>
                  <a:noFill/>
                </a:ln>
                <a:solidFill>
                  <a:srgbClr val="0B1E2F"/>
                </a:solidFill>
                <a:effectLst/>
                <a:uLnTx/>
                <a:uFillTx/>
                <a:latin typeface="Arial" panose="020B0604020202020204"/>
                <a:ea typeface="+mn-ea"/>
                <a:cs typeface="+mn-cs"/>
              </a:rPr>
              <a:t>et </a:t>
            </a:r>
            <a:endParaRPr kumimoji="0" lang="en-CH" sz="1050" b="1" i="0" u="none" strike="noStrike" kern="1200" cap="none" spc="0" normalizeH="0" baseline="0" noProof="0" dirty="0">
              <a:ln>
                <a:noFill/>
              </a:ln>
              <a:solidFill>
                <a:srgbClr val="0B1E2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050" b="1" i="0" u="none" strike="noStrike" kern="1200" cap="none" spc="0" normalizeH="0" baseline="0" noProof="0" dirty="0" err="1">
                <a:ln>
                  <a:noFill/>
                </a:ln>
                <a:solidFill>
                  <a:srgbClr val="0B1E2F"/>
                </a:solidFill>
                <a:effectLst/>
                <a:uLnTx/>
                <a:uFillTx/>
                <a:latin typeface="Arial" panose="020B0604020202020204"/>
                <a:ea typeface="+mn-ea"/>
                <a:cs typeface="+mn-cs"/>
              </a:rPr>
              <a:t>MedAccess </a:t>
            </a:r>
            <a:r>
              <a:rPr kumimoji="0" lang="en-CH" sz="1050" b="0" i="0" u="none" strike="noStrike" kern="1200" cap="none" spc="0" normalizeH="0" baseline="0" noProof="0" dirty="0">
                <a:ln>
                  <a:noFill/>
                </a:ln>
                <a:solidFill>
                  <a:srgbClr val="0B1E2F"/>
                </a:solidFill>
                <a:effectLst/>
                <a:uLnTx/>
                <a:uFillTx/>
                <a:latin typeface="Arial" panose="020B0604020202020204"/>
                <a:ea typeface="+mn-ea"/>
                <a:cs typeface="+mn-cs"/>
              </a:rPr>
              <a:t>et le GARDP étudient la mise en place d'une garantie fournisseur pour soutenir l'accès </a:t>
            </a:r>
            <a:r>
              <a:rPr kumimoji="0" lang="en-CH" sz="1050" b="0" i="0" u="none" strike="noStrike" kern="1200" cap="none" spc="0" normalizeH="0" baseline="0" noProof="0" dirty="0" err="1">
                <a:ln>
                  <a:noFill/>
                </a:ln>
                <a:solidFill>
                  <a:srgbClr val="0B1E2F"/>
                </a:solidFill>
                <a:effectLst/>
                <a:uLnTx/>
                <a:uFillTx/>
                <a:latin typeface="Arial" panose="020B0604020202020204"/>
                <a:ea typeface="+mn-ea"/>
                <a:cs typeface="+mn-cs"/>
              </a:rPr>
              <a:t>au Cefiderocol </a:t>
            </a:r>
            <a:r>
              <a:rPr kumimoji="0" lang="en-CH" sz="1050" b="0" i="0" u="none" strike="noStrike" kern="1200" cap="none" spc="0" normalizeH="0" baseline="0" noProof="0" dirty="0">
                <a:ln>
                  <a:noFill/>
                </a:ln>
                <a:solidFill>
                  <a:srgbClr val="0B1E2F"/>
                </a:solidFill>
                <a:effectLst/>
                <a:uLnTx/>
                <a:uFillTx/>
                <a:latin typeface="Arial" panose="020B0604020202020204"/>
                <a:ea typeface="+mn-ea"/>
                <a:cs typeface="+mn-cs"/>
              </a:rPr>
              <a:t>dans </a:t>
            </a:r>
            <a:r>
              <a:rPr kumimoji="0" lang="en-CH" sz="1050" b="0" i="0" u="none" strike="noStrike" kern="1200" cap="none" spc="0" normalizeH="0" baseline="0" noProof="0" dirty="0" err="1">
                <a:ln>
                  <a:noFill/>
                </a:ln>
                <a:solidFill>
                  <a:srgbClr val="0B1E2F"/>
                </a:solidFill>
                <a:effectLst/>
                <a:uLnTx/>
                <a:uFillTx/>
                <a:latin typeface="Arial" panose="020B0604020202020204"/>
                <a:ea typeface="+mn-ea"/>
                <a:cs typeface="+mn-cs"/>
              </a:rPr>
              <a:t>les PRFI</a:t>
            </a:r>
            <a:endParaRPr kumimoji="0" lang="en-CH" sz="1050" b="0" i="0" u="none" strike="noStrike" kern="1200" cap="none" spc="0" normalizeH="0" baseline="0" noProof="0" dirty="0">
              <a:ln>
                <a:noFill/>
              </a:ln>
              <a:solidFill>
                <a:srgbClr val="0B1E2F"/>
              </a:solidFill>
              <a:effectLst/>
              <a:uLnTx/>
              <a:uFillTx/>
              <a:latin typeface="Arial" panose="020B0604020202020204"/>
              <a:ea typeface="+mn-ea"/>
              <a:cs typeface="+mn-cs"/>
            </a:endParaRPr>
          </a:p>
        </p:txBody>
      </p:sp>
      <p:grpSp>
        <p:nvGrpSpPr>
          <p:cNvPr id="32" name="Group 31">
            <a:extLst>
              <a:ext uri="{FF2B5EF4-FFF2-40B4-BE49-F238E27FC236}">
                <a16:creationId xmlns:a16="http://schemas.microsoft.com/office/drawing/2014/main" id="{D30CB9D5-B17E-FC9B-5C2C-894186A357C9}"/>
              </a:ext>
            </a:extLst>
          </p:cNvPr>
          <p:cNvGrpSpPr>
            <a:grpSpLocks noChangeAspect="1"/>
          </p:cNvGrpSpPr>
          <p:nvPr/>
        </p:nvGrpSpPr>
        <p:grpSpPr>
          <a:xfrm rot="5400000">
            <a:off x="7949005" y="4350255"/>
            <a:ext cx="216002" cy="216000"/>
            <a:chOff x="6127603" y="3794907"/>
            <a:chExt cx="167448" cy="167446"/>
          </a:xfrm>
        </p:grpSpPr>
        <p:sp>
          <p:nvSpPr>
            <p:cNvPr id="35" name="Oval 34">
              <a:extLst>
                <a:ext uri="{FF2B5EF4-FFF2-40B4-BE49-F238E27FC236}">
                  <a16:creationId xmlns:a16="http://schemas.microsoft.com/office/drawing/2014/main" id="{06CC68DA-B5E4-2974-218B-42BD067B9CAB}"/>
                </a:ext>
              </a:extLst>
            </p:cNvPr>
            <p:cNvSpPr/>
            <p:nvPr/>
          </p:nvSpPr>
          <p:spPr>
            <a:xfrm rot="10800000">
              <a:off x="6127603" y="3794907"/>
              <a:ext cx="167448" cy="16744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39" name="Graphic 38">
              <a:extLst>
                <a:ext uri="{FF2B5EF4-FFF2-40B4-BE49-F238E27FC236}">
                  <a16:creationId xmlns:a16="http://schemas.microsoft.com/office/drawing/2014/main" id="{B98B227E-9FD7-079E-564A-772F69F50892}"/>
                </a:ext>
              </a:extLst>
            </p:cNvPr>
            <p:cNvPicPr>
              <a:picLocks noChangeAspect="1"/>
            </p:cNvPicPr>
            <p:nvPr/>
          </p:nvPicPr>
          <p:blipFill>
            <a:blip r:embed="rId3">
              <a:extLst>
                <a:ext uri="{96DAC541-7B7A-43D3-8B79-37D633B846F1}">
                  <asvg:svgBlip xmlns:asvg="http://schemas.microsoft.com/office/drawing/2016/SVG/main" r:embed="rId8"/>
                </a:ext>
              </a:extLst>
            </a:blip>
            <a:stretch>
              <a:fillRect/>
            </a:stretch>
          </p:blipFill>
          <p:spPr>
            <a:xfrm rot="10800000">
              <a:off x="6169003" y="3847326"/>
              <a:ext cx="78567" cy="62608"/>
            </a:xfrm>
            <a:prstGeom prst="rect">
              <a:avLst/>
            </a:prstGeom>
          </p:spPr>
        </p:pic>
      </p:grpSp>
      <p:grpSp>
        <p:nvGrpSpPr>
          <p:cNvPr id="41" name="Group 40">
            <a:extLst>
              <a:ext uri="{FF2B5EF4-FFF2-40B4-BE49-F238E27FC236}">
                <a16:creationId xmlns:a16="http://schemas.microsoft.com/office/drawing/2014/main" id="{123A1AC9-B484-F54F-E03E-47465B4F251C}"/>
              </a:ext>
            </a:extLst>
          </p:cNvPr>
          <p:cNvGrpSpPr/>
          <p:nvPr/>
        </p:nvGrpSpPr>
        <p:grpSpPr>
          <a:xfrm>
            <a:off x="10032329" y="3575420"/>
            <a:ext cx="781025" cy="781025"/>
            <a:chOff x="1503780" y="3327728"/>
            <a:chExt cx="781025" cy="781025"/>
          </a:xfrm>
        </p:grpSpPr>
        <p:sp>
          <p:nvSpPr>
            <p:cNvPr id="42" name="Explosion: 14 Points 30">
              <a:extLst>
                <a:ext uri="{FF2B5EF4-FFF2-40B4-BE49-F238E27FC236}">
                  <a16:creationId xmlns:a16="http://schemas.microsoft.com/office/drawing/2014/main" id="{27F14A54-4E6B-5338-FC57-CBBC63388A62}"/>
                </a:ext>
              </a:extLst>
            </p:cNvPr>
            <p:cNvSpPr>
              <a:spLocks noChangeAspect="1"/>
            </p:cNvSpPr>
            <p:nvPr/>
          </p:nvSpPr>
          <p:spPr>
            <a:xfrm>
              <a:off x="1503780" y="3327728"/>
              <a:ext cx="781025" cy="781025"/>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9A8B3"/>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D57B3EC4-D9DE-321A-C5C5-E238A542894D}"/>
                </a:ext>
              </a:extLst>
            </p:cNvPr>
            <p:cNvSpPr>
              <a:spLocks noChangeAspect="1"/>
            </p:cNvSpPr>
            <p:nvPr/>
          </p:nvSpPr>
          <p:spPr>
            <a:xfrm>
              <a:off x="1588292" y="3412240"/>
              <a:ext cx="612000" cy="612000"/>
            </a:xfrm>
            <a:prstGeom prst="ellipse">
              <a:avLst/>
            </a:prstGeom>
            <a:noFill/>
            <a:ln w="730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R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55" name="Rounded Rectangle 27">
            <a:extLst>
              <a:ext uri="{FF2B5EF4-FFF2-40B4-BE49-F238E27FC236}">
                <a16:creationId xmlns:a16="http://schemas.microsoft.com/office/drawing/2014/main" id="{1F10E1BC-9A04-FE4E-7746-AEF01B8A351C}"/>
              </a:ext>
            </a:extLst>
          </p:cNvPr>
          <p:cNvSpPr/>
          <p:nvPr/>
        </p:nvSpPr>
        <p:spPr>
          <a:xfrm>
            <a:off x="9270228" y="4581919"/>
            <a:ext cx="2239948" cy="1216217"/>
          </a:xfrm>
          <a:prstGeom prst="roundRect">
            <a:avLst>
              <a:gd name="adj" fmla="val 7879"/>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050" b="1" i="0" u="none" strike="noStrike" kern="1200" cap="none" spc="0" normalizeH="0" baseline="0" noProof="0" dirty="0">
                <a:ln>
                  <a:noFill/>
                </a:ln>
                <a:solidFill>
                  <a:srgbClr val="79A8B3"/>
                </a:solidFill>
                <a:effectLst/>
                <a:uLnTx/>
                <a:uFillTx/>
                <a:latin typeface="Arial" panose="020B0604020202020204"/>
                <a:ea typeface="+mn-ea"/>
                <a:cs typeface="+mn-cs"/>
              </a:rPr>
              <a:t>Septembre 2024 : </a:t>
            </a:r>
            <a:r>
              <a:rPr kumimoji="0" lang="en-CH" sz="1050" b="0" i="0" u="none" strike="noStrike" kern="1200" cap="none" spc="0" normalizeH="0" baseline="0" noProof="0" dirty="0">
                <a:ln>
                  <a:noFill/>
                </a:ln>
                <a:solidFill>
                  <a:srgbClr val="0B1E2F"/>
                </a:solidFill>
                <a:effectLst/>
                <a:uLnTx/>
                <a:uFillTx/>
                <a:latin typeface="Arial" panose="020B0604020202020204"/>
                <a:ea typeface="+mn-ea"/>
                <a:cs typeface="+mn-cs"/>
              </a:rPr>
              <a:t>Signature</a:t>
            </a:r>
            <a:r>
              <a:rPr kumimoji="0" lang="en-CH" sz="1050" b="1" i="0" u="none" strike="noStrike" kern="1200" cap="none" spc="0" normalizeH="0" baseline="0" noProof="0" dirty="0">
                <a:ln>
                  <a:noFill/>
                </a:ln>
                <a:solidFill>
                  <a:srgbClr val="0B1E2F"/>
                </a:solidFill>
                <a:effectLst/>
                <a:uLnTx/>
                <a:uFillTx/>
                <a:latin typeface="Arial" panose="020B0604020202020204"/>
                <a:ea typeface="+mn-ea"/>
                <a:cs typeface="+mn-cs"/>
              </a:rPr>
              <a:t> d'un accord-cadre entre l'OPS (y compris l'OPS SF) et le GARDP</a:t>
            </a:r>
            <a:endParaRPr kumimoji="0" lang="en-CH" sz="1050" b="0" i="0" u="none" strike="noStrike" kern="1200" cap="none" spc="0" normalizeH="0" baseline="0" noProof="0" dirty="0">
              <a:ln>
                <a:noFill/>
              </a:ln>
              <a:solidFill>
                <a:srgbClr val="0B1E2F"/>
              </a:solidFill>
              <a:effectLst/>
              <a:uLnTx/>
              <a:uFillTx/>
              <a:latin typeface="Arial" panose="020B0604020202020204"/>
              <a:ea typeface="+mn-ea"/>
              <a:cs typeface="+mn-cs"/>
            </a:endParaRPr>
          </a:p>
        </p:txBody>
      </p:sp>
      <p:grpSp>
        <p:nvGrpSpPr>
          <p:cNvPr id="57" name="Group 56">
            <a:extLst>
              <a:ext uri="{FF2B5EF4-FFF2-40B4-BE49-F238E27FC236}">
                <a16:creationId xmlns:a16="http://schemas.microsoft.com/office/drawing/2014/main" id="{4C2E57E6-FE37-17FF-49D5-5018498CA0E8}"/>
              </a:ext>
            </a:extLst>
          </p:cNvPr>
          <p:cNvGrpSpPr>
            <a:grpSpLocks noChangeAspect="1"/>
          </p:cNvGrpSpPr>
          <p:nvPr/>
        </p:nvGrpSpPr>
        <p:grpSpPr>
          <a:xfrm rot="5400000">
            <a:off x="10406073" y="4372021"/>
            <a:ext cx="216002" cy="216000"/>
            <a:chOff x="6127603" y="3794907"/>
            <a:chExt cx="167448" cy="167446"/>
          </a:xfrm>
        </p:grpSpPr>
        <p:sp>
          <p:nvSpPr>
            <p:cNvPr id="59" name="Oval 58">
              <a:extLst>
                <a:ext uri="{FF2B5EF4-FFF2-40B4-BE49-F238E27FC236}">
                  <a16:creationId xmlns:a16="http://schemas.microsoft.com/office/drawing/2014/main" id="{51202BEC-A172-9FD3-C273-0F8578D1FF09}"/>
                </a:ext>
              </a:extLst>
            </p:cNvPr>
            <p:cNvSpPr/>
            <p:nvPr/>
          </p:nvSpPr>
          <p:spPr>
            <a:xfrm rot="10800000">
              <a:off x="6127603" y="3794907"/>
              <a:ext cx="167448" cy="16744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2" name="Graphic 61">
              <a:extLst>
                <a:ext uri="{FF2B5EF4-FFF2-40B4-BE49-F238E27FC236}">
                  <a16:creationId xmlns:a16="http://schemas.microsoft.com/office/drawing/2014/main" id="{23E11C26-5667-4606-0DCE-86E14C2BE2CE}"/>
                </a:ext>
              </a:extLst>
            </p:cNvPr>
            <p:cNvPicPr>
              <a:picLocks noChangeAspect="1"/>
            </p:cNvPicPr>
            <p:nvPr/>
          </p:nvPicPr>
          <p:blipFill>
            <a:blip r:embed="rId3">
              <a:extLst>
                <a:ext uri="{96DAC541-7B7A-43D3-8B79-37D633B846F1}">
                  <asvg:svgBlip xmlns:asvg="http://schemas.microsoft.com/office/drawing/2016/SVG/main" r:embed="rId8"/>
                </a:ext>
              </a:extLst>
            </a:blip>
            <a:stretch>
              <a:fillRect/>
            </a:stretch>
          </p:blipFill>
          <p:spPr>
            <a:xfrm rot="10800000">
              <a:off x="6169003" y="3847326"/>
              <a:ext cx="78567" cy="62608"/>
            </a:xfrm>
            <a:prstGeom prst="rect">
              <a:avLst/>
            </a:prstGeom>
          </p:spPr>
        </p:pic>
      </p:grpSp>
      <p:sp>
        <p:nvSpPr>
          <p:cNvPr id="63" name="Rounded Rectangle 26">
            <a:extLst>
              <a:ext uri="{FF2B5EF4-FFF2-40B4-BE49-F238E27FC236}">
                <a16:creationId xmlns:a16="http://schemas.microsoft.com/office/drawing/2014/main" id="{2210D817-EA52-6A45-F4A0-B38CD13B280F}"/>
              </a:ext>
            </a:extLst>
          </p:cNvPr>
          <p:cNvSpPr/>
          <p:nvPr/>
        </p:nvSpPr>
        <p:spPr>
          <a:xfrm>
            <a:off x="9475705" y="2207990"/>
            <a:ext cx="2419373" cy="1216217"/>
          </a:xfrm>
          <a:prstGeom prst="roundRect">
            <a:avLst>
              <a:gd name="adj" fmla="val 7879"/>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050" b="1" i="0" u="none" strike="noStrike" kern="1200" cap="none" spc="0" normalizeH="0" baseline="0" noProof="0" dirty="0">
                <a:ln>
                  <a:noFill/>
                </a:ln>
                <a:solidFill>
                  <a:srgbClr val="79A8B3"/>
                </a:solidFill>
                <a:effectLst/>
                <a:uLnTx/>
                <a:uFillTx/>
                <a:latin typeface="Arial" panose="020B0604020202020204"/>
                <a:ea typeface="+mn-ea"/>
                <a:cs typeface="+mn-cs"/>
              </a:rPr>
              <a:t>Février 2024 : </a:t>
            </a:r>
            <a:r>
              <a:rPr kumimoji="0" lang="en-CH" sz="1050" b="0" i="0" u="none" strike="noStrike" kern="1200" cap="none" spc="0" normalizeH="0" baseline="0" noProof="0" dirty="0">
                <a:ln>
                  <a:noFill/>
                </a:ln>
                <a:solidFill>
                  <a:srgbClr val="0B1E2F"/>
                </a:solidFill>
                <a:effectLst/>
                <a:uLnTx/>
                <a:uFillTx/>
                <a:latin typeface="Arial" panose="020B0604020202020204"/>
                <a:ea typeface="+mn-ea"/>
                <a:cs typeface="+mn-cs"/>
              </a:rPr>
              <a:t>Shionogi </a:t>
            </a:r>
            <a:r>
              <a:rPr kumimoji="0" lang="en-CH" sz="1050" b="0" i="0" u="none" strike="noStrike" kern="1200" cap="none" spc="0" normalizeH="0" baseline="0" noProof="0" dirty="0" err="1">
                <a:ln>
                  <a:noFill/>
                </a:ln>
                <a:solidFill>
                  <a:srgbClr val="0B1E2F"/>
                </a:solidFill>
                <a:effectLst/>
                <a:uLnTx/>
                <a:uFillTx/>
                <a:latin typeface="Arial" panose="020B0604020202020204"/>
                <a:ea typeface="+mn-ea"/>
                <a:cs typeface="+mn-cs"/>
              </a:rPr>
              <a:t>Fetcroja </a:t>
            </a:r>
            <a:r>
              <a:rPr kumimoji="0" lang="en-CH" sz="1050" b="0" i="0" u="none" strike="noStrike" kern="1200" cap="none" spc="0" normalizeH="0" baseline="0" noProof="0" dirty="0">
                <a:ln>
                  <a:noFill/>
                </a:ln>
                <a:solidFill>
                  <a:srgbClr val="0B1E2F"/>
                </a:solidFill>
                <a:effectLst/>
                <a:uLnTx/>
                <a:uFillTx/>
                <a:latin typeface="Arial" panose="020B0604020202020204"/>
                <a:ea typeface="+mn-ea"/>
                <a:cs typeface="+mn-cs"/>
              </a:rPr>
              <a:t>reçoit </a:t>
            </a:r>
            <a:r>
              <a:rPr kumimoji="0" lang="en-CH" sz="1050" b="1" i="0" u="none" strike="noStrike" kern="1200" cap="none" spc="0" normalizeH="0" baseline="0" noProof="0" dirty="0">
                <a:ln>
                  <a:noFill/>
                </a:ln>
                <a:solidFill>
                  <a:srgbClr val="0B1E2F"/>
                </a:solidFill>
                <a:effectLst/>
                <a:uLnTx/>
                <a:uFillTx/>
                <a:latin typeface="Arial" panose="020B0604020202020204"/>
                <a:ea typeface="+mn-ea"/>
                <a:cs typeface="+mn-cs"/>
              </a:rPr>
              <a:t>l'approbation PQ de l'OMS</a:t>
            </a:r>
          </a:p>
        </p:txBody>
      </p:sp>
      <p:grpSp>
        <p:nvGrpSpPr>
          <p:cNvPr id="50" name="Group 49">
            <a:extLst>
              <a:ext uri="{FF2B5EF4-FFF2-40B4-BE49-F238E27FC236}">
                <a16:creationId xmlns:a16="http://schemas.microsoft.com/office/drawing/2014/main" id="{9CB3CE12-2B00-8210-9A0E-B4E7E6B83B6E}"/>
              </a:ext>
            </a:extLst>
          </p:cNvPr>
          <p:cNvGrpSpPr/>
          <p:nvPr/>
        </p:nvGrpSpPr>
        <p:grpSpPr>
          <a:xfrm>
            <a:off x="9417639" y="2072549"/>
            <a:ext cx="324000" cy="324000"/>
            <a:chOff x="583485" y="1861100"/>
            <a:chExt cx="324000" cy="324000"/>
          </a:xfrm>
        </p:grpSpPr>
        <p:sp>
          <p:nvSpPr>
            <p:cNvPr id="51" name="Oval 50">
              <a:extLst>
                <a:ext uri="{FF2B5EF4-FFF2-40B4-BE49-F238E27FC236}">
                  <a16:creationId xmlns:a16="http://schemas.microsoft.com/office/drawing/2014/main" id="{6670C7A2-3592-0B7A-6A33-383F970E94B1}"/>
                </a:ext>
              </a:extLst>
            </p:cNvPr>
            <p:cNvSpPr>
              <a:spLocks noChangeAspect="1"/>
            </p:cNvSpPr>
            <p:nvPr/>
          </p:nvSpPr>
          <p:spPr>
            <a:xfrm>
              <a:off x="583485" y="1861100"/>
              <a:ext cx="324000" cy="324000"/>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O" sz="1000" b="1" i="0" u="none" strike="noStrike" kern="1200" cap="none" spc="0" normalizeH="0" baseline="0" noProof="0">
                <a:ln>
                  <a:noFill/>
                </a:ln>
                <a:solidFill>
                  <a:srgbClr val="79A8B3"/>
                </a:solidFill>
                <a:effectLst/>
                <a:uLnTx/>
                <a:uFillTx/>
                <a:latin typeface="Arial" panose="020B0604020202020204"/>
                <a:ea typeface="+mn-ea"/>
                <a:cs typeface="+mn-cs"/>
              </a:endParaRPr>
            </a:p>
          </p:txBody>
        </p:sp>
        <p:pic>
          <p:nvPicPr>
            <p:cNvPr id="54" name="Graphic 53">
              <a:extLst>
                <a:ext uri="{FF2B5EF4-FFF2-40B4-BE49-F238E27FC236}">
                  <a16:creationId xmlns:a16="http://schemas.microsoft.com/office/drawing/2014/main" id="{A1CE84A5-5BF5-26E0-E819-1FBBF37255C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3485" y="1951100"/>
              <a:ext cx="144000" cy="144000"/>
            </a:xfrm>
            <a:prstGeom prst="rect">
              <a:avLst/>
            </a:prstGeom>
          </p:spPr>
        </p:pic>
      </p:grpSp>
      <p:grpSp>
        <p:nvGrpSpPr>
          <p:cNvPr id="45" name="Group 44">
            <a:extLst>
              <a:ext uri="{FF2B5EF4-FFF2-40B4-BE49-F238E27FC236}">
                <a16:creationId xmlns:a16="http://schemas.microsoft.com/office/drawing/2014/main" id="{EB459E7E-BFEC-4573-43EE-62A4EB87A07D}"/>
              </a:ext>
            </a:extLst>
          </p:cNvPr>
          <p:cNvGrpSpPr>
            <a:grpSpLocks noChangeAspect="1"/>
          </p:cNvGrpSpPr>
          <p:nvPr/>
        </p:nvGrpSpPr>
        <p:grpSpPr>
          <a:xfrm rot="16200000">
            <a:off x="10351157" y="3397248"/>
            <a:ext cx="216002" cy="216000"/>
            <a:chOff x="6127603" y="3794907"/>
            <a:chExt cx="167448" cy="167446"/>
          </a:xfrm>
        </p:grpSpPr>
        <p:sp>
          <p:nvSpPr>
            <p:cNvPr id="46" name="Oval 45">
              <a:extLst>
                <a:ext uri="{FF2B5EF4-FFF2-40B4-BE49-F238E27FC236}">
                  <a16:creationId xmlns:a16="http://schemas.microsoft.com/office/drawing/2014/main" id="{D846F98A-9F73-0B45-BD60-2416681BA865}"/>
                </a:ext>
              </a:extLst>
            </p:cNvPr>
            <p:cNvSpPr/>
            <p:nvPr/>
          </p:nvSpPr>
          <p:spPr>
            <a:xfrm rot="10800000">
              <a:off x="6127603" y="3794907"/>
              <a:ext cx="167448" cy="16744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RO"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8" name="Graphic 47">
              <a:extLst>
                <a:ext uri="{FF2B5EF4-FFF2-40B4-BE49-F238E27FC236}">
                  <a16:creationId xmlns:a16="http://schemas.microsoft.com/office/drawing/2014/main" id="{808000B8-0873-DF9E-6CE7-F46CB96071B4}"/>
                </a:ext>
              </a:extLst>
            </p:cNvPr>
            <p:cNvPicPr>
              <a:picLocks noChangeAspect="1"/>
            </p:cNvPicPr>
            <p:nvPr/>
          </p:nvPicPr>
          <p:blipFill>
            <a:blip r:embed="rId3">
              <a:extLst>
                <a:ext uri="{96DAC541-7B7A-43D3-8B79-37D633B846F1}">
                  <asvg:svgBlip xmlns:asvg="http://schemas.microsoft.com/office/drawing/2016/SVG/main" r:embed="rId8"/>
                </a:ext>
              </a:extLst>
            </a:blip>
            <a:stretch>
              <a:fillRect/>
            </a:stretch>
          </p:blipFill>
          <p:spPr>
            <a:xfrm rot="10800000">
              <a:off x="6169003" y="3847326"/>
              <a:ext cx="78567" cy="62608"/>
            </a:xfrm>
            <a:prstGeom prst="rect">
              <a:avLst/>
            </a:prstGeom>
          </p:spPr>
        </p:pic>
      </p:grpSp>
    </p:spTree>
    <p:extLst>
      <p:ext uri="{BB962C8B-B14F-4D97-AF65-F5344CB8AC3E}">
        <p14:creationId xmlns:p14="http://schemas.microsoft.com/office/powerpoint/2010/main" val="138822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9A122-9D0A-5E45-8042-DFC38B404519}"/>
            </a:ext>
          </a:extLst>
        </p:cNvPr>
        <p:cNvGrpSpPr/>
        <p:nvPr/>
      </p:nvGrpSpPr>
      <p:grpSpPr>
        <a:xfrm>
          <a:off x="0" y="0"/>
          <a:ext cx="0" cy="0"/>
          <a:chOff x="0" y="0"/>
          <a:chExt cx="0" cy="0"/>
        </a:xfrm>
      </p:grpSpPr>
      <p:sp>
        <p:nvSpPr>
          <p:cNvPr id="6" name="Rounded Rectangle 5">
            <a:extLst>
              <a:ext uri="{FF2B5EF4-FFF2-40B4-BE49-F238E27FC236}">
                <a16:creationId xmlns:a16="http://schemas.microsoft.com/office/drawing/2014/main" id="{E7DF29F8-DBCE-EBF8-B05C-8FD64FFA88C2}"/>
              </a:ext>
            </a:extLst>
          </p:cNvPr>
          <p:cNvSpPr>
            <a:spLocks/>
          </p:cNvSpPr>
          <p:nvPr/>
        </p:nvSpPr>
        <p:spPr>
          <a:xfrm>
            <a:off x="606580" y="1840375"/>
            <a:ext cx="10960101" cy="4540327"/>
          </a:xfrm>
          <a:prstGeom prst="roundRect">
            <a:avLst>
              <a:gd name="adj" fmla="val 3696"/>
            </a:avLst>
          </a:prstGeom>
          <a:solidFill>
            <a:srgbClr val="E7F4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000000"/>
              </a:buClr>
            </a:pPr>
            <a:endParaRPr lang="en-GB" sz="1400" kern="0">
              <a:solidFill>
                <a:srgbClr val="FFFFFF"/>
              </a:solidFill>
              <a:latin typeface="Arial"/>
            </a:endParaRPr>
          </a:p>
        </p:txBody>
      </p:sp>
      <p:sp>
        <p:nvSpPr>
          <p:cNvPr id="2" name="Title 1">
            <a:extLst>
              <a:ext uri="{FF2B5EF4-FFF2-40B4-BE49-F238E27FC236}">
                <a16:creationId xmlns:a16="http://schemas.microsoft.com/office/drawing/2014/main" id="{85E9D9CA-FDCF-44A3-F3DE-EB8E7BAF438E}"/>
              </a:ext>
            </a:extLst>
          </p:cNvPr>
          <p:cNvSpPr>
            <a:spLocks noGrp="1"/>
          </p:cNvSpPr>
          <p:nvPr>
            <p:ph type="title"/>
          </p:nvPr>
        </p:nvSpPr>
        <p:spPr>
          <a:xfrm>
            <a:off x="570076" y="431520"/>
            <a:ext cx="10974916" cy="968997"/>
          </a:xfrm>
        </p:spPr>
        <p:txBody>
          <a:bodyPr anchor="t"/>
          <a:lstStyle/>
          <a:p>
            <a:r>
              <a:rPr lang="en-US" sz="3600" dirty="0">
                <a:solidFill>
                  <a:schemeClr val="tx1"/>
                </a:solidFill>
                <a:latin typeface="Arial"/>
                <a:cs typeface="Arial"/>
              </a:rPr>
              <a:t>Plusieurs </a:t>
            </a:r>
            <a:r>
              <a:rPr lang="en-GB" sz="3600" dirty="0">
                <a:latin typeface="Arial"/>
                <a:cs typeface="Arial"/>
              </a:rPr>
              <a:t>défis empêchent un accès durable aux antibiotiques vitaux </a:t>
            </a:r>
            <a:endParaRPr lang="en-US" sz="3600" dirty="0"/>
          </a:p>
        </p:txBody>
      </p:sp>
      <p:sp>
        <p:nvSpPr>
          <p:cNvPr id="48" name="TextBox 47">
            <a:extLst>
              <a:ext uri="{FF2B5EF4-FFF2-40B4-BE49-F238E27FC236}">
                <a16:creationId xmlns:a16="http://schemas.microsoft.com/office/drawing/2014/main" id="{726AE874-B4A0-2D0E-6214-8D637CB03414}"/>
              </a:ext>
            </a:extLst>
          </p:cNvPr>
          <p:cNvSpPr txBox="1"/>
          <p:nvPr/>
        </p:nvSpPr>
        <p:spPr>
          <a:xfrm>
            <a:off x="966765" y="6063029"/>
            <a:ext cx="109601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a:ea typeface="+mn-ea"/>
                <a:cs typeface="+mn-cs"/>
              </a:rPr>
              <a:t>*À partir des estimations de l'étude GRAM 2019 (publiée dans Lancet), nous avons calculé les niveaux d'accès aux traitements contre les infections bactériennes résistantes au carbapénème en Asie</a:t>
            </a:r>
            <a:r>
              <a:rPr kumimoji="0" lang="en-CH" sz="800" b="0" i="0" u="none" strike="noStrike" kern="1200" cap="none" spc="0" normalizeH="0" baseline="0" noProof="0">
                <a:ln>
                  <a:noFill/>
                </a:ln>
                <a:effectLst/>
                <a:uLnTx/>
                <a:uFillTx/>
                <a:latin typeface="Arial" panose="020B0604020202020204"/>
                <a:ea typeface="+mn-ea"/>
                <a:cs typeface="+mn-cs"/>
              </a:rPr>
              <a:t> du Sud </a:t>
            </a:r>
            <a:endParaRPr kumimoji="0" lang="en-GB" sz="800" b="0" i="0" u="none" strike="noStrike" kern="1200" cap="none" spc="0" normalizeH="0" baseline="0" noProof="0">
              <a:ln>
                <a:noFill/>
              </a:ln>
              <a:effectLst/>
              <a:uLnTx/>
              <a:uFillTx/>
              <a:latin typeface="Arial" panose="020B0604020202020204"/>
              <a:ea typeface="+mn-ea"/>
              <a:cs typeface="+mn-cs"/>
            </a:endParaRPr>
          </a:p>
        </p:txBody>
      </p:sp>
      <p:grpSp>
        <p:nvGrpSpPr>
          <p:cNvPr id="134" name="Group 133">
            <a:extLst>
              <a:ext uri="{FF2B5EF4-FFF2-40B4-BE49-F238E27FC236}">
                <a16:creationId xmlns:a16="http://schemas.microsoft.com/office/drawing/2014/main" id="{0DDDA64D-B6B6-8F9F-DA60-8EE89EE34B68}"/>
              </a:ext>
            </a:extLst>
          </p:cNvPr>
          <p:cNvGrpSpPr/>
          <p:nvPr/>
        </p:nvGrpSpPr>
        <p:grpSpPr>
          <a:xfrm>
            <a:off x="4447367" y="3834014"/>
            <a:ext cx="6838108" cy="2092047"/>
            <a:chOff x="5039505" y="4134493"/>
            <a:chExt cx="6384928" cy="1778088"/>
          </a:xfrm>
        </p:grpSpPr>
        <p:grpSp>
          <p:nvGrpSpPr>
            <p:cNvPr id="130" name="Group 129">
              <a:extLst>
                <a:ext uri="{FF2B5EF4-FFF2-40B4-BE49-F238E27FC236}">
                  <a16:creationId xmlns:a16="http://schemas.microsoft.com/office/drawing/2014/main" id="{4E909111-46A3-7D64-867E-9971BE34C4B6}"/>
                </a:ext>
              </a:extLst>
            </p:cNvPr>
            <p:cNvGrpSpPr/>
            <p:nvPr/>
          </p:nvGrpSpPr>
          <p:grpSpPr>
            <a:xfrm>
              <a:off x="5039505" y="4134493"/>
              <a:ext cx="6384928" cy="1356527"/>
              <a:chOff x="6776760" y="4134493"/>
              <a:chExt cx="3592100" cy="1356527"/>
            </a:xfrm>
          </p:grpSpPr>
          <p:cxnSp>
            <p:nvCxnSpPr>
              <p:cNvPr id="122" name="Straight Connector 121">
                <a:extLst>
                  <a:ext uri="{FF2B5EF4-FFF2-40B4-BE49-F238E27FC236}">
                    <a16:creationId xmlns:a16="http://schemas.microsoft.com/office/drawing/2014/main" id="{98F839CE-C84F-EFEF-5100-B01EA4AF2C06}"/>
                  </a:ext>
                </a:extLst>
              </p:cNvPr>
              <p:cNvCxnSpPr/>
              <p:nvPr/>
            </p:nvCxnSpPr>
            <p:spPr>
              <a:xfrm>
                <a:off x="6776760" y="4134493"/>
                <a:ext cx="35921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AE4A7CD-D7F9-66FD-F798-FFB217745EEA}"/>
                  </a:ext>
                </a:extLst>
              </p:cNvPr>
              <p:cNvCxnSpPr/>
              <p:nvPr/>
            </p:nvCxnSpPr>
            <p:spPr>
              <a:xfrm>
                <a:off x="6776760" y="4328283"/>
                <a:ext cx="35921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3973B47-7CA5-4BF4-EC59-02F4B843F635}"/>
                  </a:ext>
                </a:extLst>
              </p:cNvPr>
              <p:cNvCxnSpPr/>
              <p:nvPr/>
            </p:nvCxnSpPr>
            <p:spPr>
              <a:xfrm>
                <a:off x="6776760" y="4522073"/>
                <a:ext cx="35921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01E4D4E-F2F3-1572-7214-4F854B12A045}"/>
                  </a:ext>
                </a:extLst>
              </p:cNvPr>
              <p:cNvCxnSpPr/>
              <p:nvPr/>
            </p:nvCxnSpPr>
            <p:spPr>
              <a:xfrm>
                <a:off x="6776760" y="4715863"/>
                <a:ext cx="35921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194DF0B-98AB-72A8-E5D2-07319C2F27A9}"/>
                  </a:ext>
                </a:extLst>
              </p:cNvPr>
              <p:cNvCxnSpPr/>
              <p:nvPr/>
            </p:nvCxnSpPr>
            <p:spPr>
              <a:xfrm>
                <a:off x="6776760" y="4909653"/>
                <a:ext cx="35921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9E456E61-BA79-27B9-93E5-8D08B8C600B6}"/>
                  </a:ext>
                </a:extLst>
              </p:cNvPr>
              <p:cNvCxnSpPr/>
              <p:nvPr/>
            </p:nvCxnSpPr>
            <p:spPr>
              <a:xfrm>
                <a:off x="6776760" y="5103443"/>
                <a:ext cx="35921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0846A5E-D0EA-7D2D-07DC-03ACAEDD9AB0}"/>
                  </a:ext>
                </a:extLst>
              </p:cNvPr>
              <p:cNvCxnSpPr/>
              <p:nvPr/>
            </p:nvCxnSpPr>
            <p:spPr>
              <a:xfrm>
                <a:off x="6776760" y="5297233"/>
                <a:ext cx="35921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D40963A7-0E68-FDC2-3F28-0FB7B189082A}"/>
                  </a:ext>
                </a:extLst>
              </p:cNvPr>
              <p:cNvCxnSpPr/>
              <p:nvPr/>
            </p:nvCxnSpPr>
            <p:spPr>
              <a:xfrm>
                <a:off x="6776760" y="5491020"/>
                <a:ext cx="35921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B719441F-1396-C7FC-4E50-32284190FC02}"/>
                </a:ext>
              </a:extLst>
            </p:cNvPr>
            <p:cNvSpPr txBox="1"/>
            <p:nvPr/>
          </p:nvSpPr>
          <p:spPr>
            <a:xfrm>
              <a:off x="5494553" y="4221223"/>
              <a:ext cx="1076031" cy="184666"/>
            </a:xfrm>
            <a:prstGeom prst="rect">
              <a:avLst/>
            </a:prstGeom>
            <a:noFill/>
          </p:spPr>
          <p:txBody>
            <a:bodyPr wrap="square" lIns="0" tIns="0" rIns="0" bIns="0">
              <a:spAutoFit/>
            </a:bodyPr>
            <a:lstStyle>
              <a:defPPr>
                <a:defRPr lang="en-US"/>
              </a:defPPr>
              <a:lvl1pPr marR="0" lvl="0" indent="0" algn="r" fontAlgn="base">
                <a:lnSpc>
                  <a:spcPct val="100000"/>
                </a:lnSpc>
                <a:spcBef>
                  <a:spcPts val="0"/>
                </a:spcBef>
                <a:spcAft>
                  <a:spcPts val="0"/>
                </a:spcAft>
                <a:buClrTx/>
                <a:buSzTx/>
                <a:buFontTx/>
                <a:buNone/>
                <a:tabLst/>
                <a:defRPr kumimoji="0" sz="1100" i="0" u="none" strike="noStrike" cap="none" spc="0" normalizeH="0" baseline="0">
                  <a:ln>
                    <a:noFill/>
                  </a:ln>
                  <a:solidFill>
                    <a:schemeClr val="tx2"/>
                  </a:solidFill>
                  <a:effectLst/>
                  <a:uLnTx/>
                  <a:uFillTx/>
                  <a:latin typeface="Arial" panose="020B0604020202020204"/>
                </a:defRPr>
              </a:lvl1pPr>
            </a:lstStyle>
            <a:p>
              <a:r>
                <a:rPr lang="en-US" sz="1400" b="1" dirty="0"/>
                <a:t>~1,4 million</a:t>
              </a:r>
              <a:endParaRPr lang="en-GB" sz="1400" b="1" dirty="0"/>
            </a:p>
          </p:txBody>
        </p:sp>
        <p:sp>
          <p:nvSpPr>
            <p:cNvPr id="37" name="TextBox 36">
              <a:extLst>
                <a:ext uri="{FF2B5EF4-FFF2-40B4-BE49-F238E27FC236}">
                  <a16:creationId xmlns:a16="http://schemas.microsoft.com/office/drawing/2014/main" id="{CBBAF59A-ECB3-3AC5-0E3A-873819CCE946}"/>
                </a:ext>
              </a:extLst>
            </p:cNvPr>
            <p:cNvSpPr txBox="1"/>
            <p:nvPr/>
          </p:nvSpPr>
          <p:spPr>
            <a:xfrm>
              <a:off x="10134695" y="4813659"/>
              <a:ext cx="697428"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Arial" panose="020B0604020202020204"/>
                </a:rPr>
                <a:t>~</a:t>
              </a:r>
              <a:r>
                <a:rPr lang="en-US" sz="1400" b="1" dirty="0">
                  <a:solidFill>
                    <a:schemeClr val="accent3"/>
                  </a:solidFill>
                  <a:latin typeface="Arial" panose="020B0604020202020204"/>
                </a:rPr>
                <a:t>40 000</a:t>
              </a:r>
              <a:endParaRPr lang="en-GB" sz="1400" b="1" dirty="0">
                <a:solidFill>
                  <a:schemeClr val="accent3"/>
                </a:solidFill>
                <a:latin typeface="Arial" panose="020B0604020202020204"/>
              </a:endParaRPr>
            </a:p>
          </p:txBody>
        </p:sp>
        <p:sp>
          <p:nvSpPr>
            <p:cNvPr id="118" name="Triangle 117">
              <a:extLst>
                <a:ext uri="{FF2B5EF4-FFF2-40B4-BE49-F238E27FC236}">
                  <a16:creationId xmlns:a16="http://schemas.microsoft.com/office/drawing/2014/main" id="{365273B7-40F5-BE94-A2EC-0A3BB0AAFC73}"/>
                </a:ext>
              </a:extLst>
            </p:cNvPr>
            <p:cNvSpPr/>
            <p:nvPr/>
          </p:nvSpPr>
          <p:spPr>
            <a:xfrm>
              <a:off x="7127749" y="4510387"/>
              <a:ext cx="2028003" cy="986536"/>
            </a:xfrm>
            <a:prstGeom prst="triangle">
              <a:avLst>
                <a:gd name="adj"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84" name="TextBox 83">
              <a:extLst>
                <a:ext uri="{FF2B5EF4-FFF2-40B4-BE49-F238E27FC236}">
                  <a16:creationId xmlns:a16="http://schemas.microsoft.com/office/drawing/2014/main" id="{B9C13189-99A7-985A-0996-C07202065D5A}"/>
                </a:ext>
              </a:extLst>
            </p:cNvPr>
            <p:cNvSpPr txBox="1"/>
            <p:nvPr/>
          </p:nvSpPr>
          <p:spPr>
            <a:xfrm>
              <a:off x="5316859" y="5487868"/>
              <a:ext cx="1200089" cy="366223"/>
            </a:xfrm>
            <a:prstGeom prst="rect">
              <a:avLst/>
            </a:prstGeom>
            <a:noFill/>
          </p:spPr>
          <p:txBody>
            <a:bodyPr wrap="square" lIns="0" tIns="0" rIns="0" bIns="0">
              <a:sp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tx2"/>
                  </a:solidFill>
                  <a:effectLst/>
                  <a:uLnTx/>
                  <a:uFillTx/>
                  <a:latin typeface="Arial" panose="020B0604020202020204"/>
                  <a:ea typeface="+mn-ea"/>
                  <a:cs typeface="+mn-cs"/>
                </a:rPr>
                <a:t>Nombre </a:t>
              </a:r>
              <a:r>
                <a:rPr kumimoji="0" lang="en-US" sz="1400" i="0" u="none" strike="noStrike" kern="1200" cap="none" spc="0" normalizeH="0" baseline="0" noProof="0" dirty="0" err="1">
                  <a:ln>
                    <a:noFill/>
                  </a:ln>
                  <a:solidFill>
                    <a:schemeClr val="tx2"/>
                  </a:solidFill>
                  <a:effectLst/>
                  <a:uLnTx/>
                  <a:uFillTx/>
                  <a:latin typeface="Arial" panose="020B0604020202020204"/>
                  <a:ea typeface="+mn-ea"/>
                  <a:cs typeface="+mn-cs"/>
                </a:rPr>
                <a:t>estimé</a:t>
              </a:r>
              <a:r>
                <a:rPr kumimoji="0" lang="en-US" sz="1400" i="0" u="none" strike="noStrike" kern="1200" cap="none" spc="0" normalizeH="0" baseline="0" noProof="0" dirty="0">
                  <a:ln>
                    <a:noFill/>
                  </a:ln>
                  <a:solidFill>
                    <a:schemeClr val="tx2"/>
                  </a:solidFill>
                  <a:effectLst/>
                  <a:uLnTx/>
                  <a:uFillTx/>
                  <a:latin typeface="Arial" panose="020B0604020202020204"/>
                  <a:ea typeface="+mn-ea"/>
                  <a:cs typeface="+mn-cs"/>
                </a:rPr>
                <a:t> de patients</a:t>
              </a:r>
            </a:p>
          </p:txBody>
        </p:sp>
        <p:sp>
          <p:nvSpPr>
            <p:cNvPr id="85" name="TextBox 84">
              <a:extLst>
                <a:ext uri="{FF2B5EF4-FFF2-40B4-BE49-F238E27FC236}">
                  <a16:creationId xmlns:a16="http://schemas.microsoft.com/office/drawing/2014/main" id="{AEE6DB4D-BF6A-90FD-3E5B-2E25EC98AEB3}"/>
                </a:ext>
              </a:extLst>
            </p:cNvPr>
            <p:cNvSpPr txBox="1"/>
            <p:nvPr/>
          </p:nvSpPr>
          <p:spPr>
            <a:xfrm>
              <a:off x="10160517" y="5441723"/>
              <a:ext cx="1200087" cy="470858"/>
            </a:xfrm>
            <a:prstGeom prst="rect">
              <a:avLst/>
            </a:prstGeom>
            <a:noFill/>
          </p:spPr>
          <p:txBody>
            <a:bodyPr wrap="square" lIns="0" tIns="0" rIns="0" bIns="0">
              <a:spAutoFit/>
            </a:body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accent3"/>
                  </a:solidFill>
                  <a:effectLst/>
                  <a:uLnTx/>
                  <a:uFillTx/>
                  <a:latin typeface="Arial" panose="020B0604020202020204"/>
                  <a:ea typeface="+mn-ea"/>
                  <a:cs typeface="+mn-cs"/>
                </a:rPr>
                <a:t>Nombre de patients </a:t>
              </a:r>
              <a:r>
                <a:rPr kumimoji="0" lang="en-US" sz="1200" i="0" u="none" strike="noStrike" kern="1200" cap="none" spc="0" normalizeH="0" baseline="0" noProof="0" dirty="0" err="1">
                  <a:ln>
                    <a:noFill/>
                  </a:ln>
                  <a:solidFill>
                    <a:schemeClr val="accent3"/>
                  </a:solidFill>
                  <a:effectLst/>
                  <a:uLnTx/>
                  <a:uFillTx/>
                  <a:latin typeface="Arial" panose="020B0604020202020204"/>
                  <a:ea typeface="+mn-ea"/>
                  <a:cs typeface="+mn-cs"/>
                </a:rPr>
                <a:t>recevant</a:t>
              </a:r>
              <a:r>
                <a:rPr kumimoji="0" lang="en-US" sz="1200" i="0" u="none" strike="noStrike" kern="1200" cap="none" spc="0" normalizeH="0" baseline="0" noProof="0" dirty="0">
                  <a:ln>
                    <a:noFill/>
                  </a:ln>
                  <a:solidFill>
                    <a:schemeClr val="accent3"/>
                  </a:solidFill>
                  <a:effectLst/>
                  <a:uLnTx/>
                  <a:uFillTx/>
                  <a:latin typeface="Arial" panose="020B0604020202020204"/>
                  <a:ea typeface="+mn-ea"/>
                  <a:cs typeface="+mn-cs"/>
                </a:rPr>
                <a:t> un </a:t>
              </a:r>
              <a:r>
                <a:rPr kumimoji="0" lang="en-US" sz="1200" i="0" u="none" strike="noStrike" kern="1200" cap="none" spc="0" normalizeH="0" baseline="0" noProof="0" dirty="0" err="1">
                  <a:ln>
                    <a:noFill/>
                  </a:ln>
                  <a:solidFill>
                    <a:schemeClr val="accent3"/>
                  </a:solidFill>
                  <a:effectLst/>
                  <a:uLnTx/>
                  <a:uFillTx/>
                  <a:latin typeface="Arial" panose="020B0604020202020204"/>
                  <a:ea typeface="+mn-ea"/>
                  <a:cs typeface="+mn-cs"/>
                </a:rPr>
                <a:t>traitement</a:t>
              </a:r>
              <a:endParaRPr kumimoji="0" lang="en-US" sz="1200" i="0" u="none" strike="noStrike" kern="1200" cap="none" spc="0" normalizeH="0" baseline="0" noProof="0" dirty="0">
                <a:ln>
                  <a:noFill/>
                </a:ln>
                <a:solidFill>
                  <a:schemeClr val="accent3"/>
                </a:solidFill>
                <a:effectLst/>
                <a:uLnTx/>
                <a:uFillTx/>
                <a:latin typeface="Arial" panose="020B0604020202020204"/>
                <a:ea typeface="+mn-ea"/>
                <a:cs typeface="+mn-cs"/>
              </a:endParaRPr>
            </a:p>
          </p:txBody>
        </p:sp>
        <p:grpSp>
          <p:nvGrpSpPr>
            <p:cNvPr id="115" name="Group 114">
              <a:extLst>
                <a:ext uri="{FF2B5EF4-FFF2-40B4-BE49-F238E27FC236}">
                  <a16:creationId xmlns:a16="http://schemas.microsoft.com/office/drawing/2014/main" id="{B1F91FEC-B167-9F70-5661-FC44737CD4D8}"/>
                </a:ext>
              </a:extLst>
            </p:cNvPr>
            <p:cNvGrpSpPr/>
            <p:nvPr/>
          </p:nvGrpSpPr>
          <p:grpSpPr>
            <a:xfrm>
              <a:off x="6601717" y="4232576"/>
              <a:ext cx="806841" cy="1584317"/>
              <a:chOff x="6932032" y="4232576"/>
              <a:chExt cx="806841" cy="1584317"/>
            </a:xfrm>
          </p:grpSpPr>
          <p:sp>
            <p:nvSpPr>
              <p:cNvPr id="82" name="Rounded Rectangle 81">
                <a:extLst>
                  <a:ext uri="{FF2B5EF4-FFF2-40B4-BE49-F238E27FC236}">
                    <a16:creationId xmlns:a16="http://schemas.microsoft.com/office/drawing/2014/main" id="{CBFC74C9-CA64-6530-7444-6F026CA51F1E}"/>
                  </a:ext>
                </a:extLst>
              </p:cNvPr>
              <p:cNvSpPr/>
              <p:nvPr/>
            </p:nvSpPr>
            <p:spPr>
              <a:xfrm>
                <a:off x="7223737" y="4478465"/>
                <a:ext cx="515136" cy="102665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RO"/>
              </a:p>
            </p:txBody>
          </p:sp>
          <p:grpSp>
            <p:nvGrpSpPr>
              <p:cNvPr id="98" name="Group 97">
                <a:extLst>
                  <a:ext uri="{FF2B5EF4-FFF2-40B4-BE49-F238E27FC236}">
                    <a16:creationId xmlns:a16="http://schemas.microsoft.com/office/drawing/2014/main" id="{35FE3BA0-D91B-8028-2A37-E4C13F8989A4}"/>
                  </a:ext>
                </a:extLst>
              </p:cNvPr>
              <p:cNvGrpSpPr/>
              <p:nvPr/>
            </p:nvGrpSpPr>
            <p:grpSpPr>
              <a:xfrm>
                <a:off x="6932032" y="5296116"/>
                <a:ext cx="422584" cy="520777"/>
                <a:chOff x="6932032" y="5296116"/>
                <a:chExt cx="422584" cy="520777"/>
              </a:xfrm>
            </p:grpSpPr>
            <p:cxnSp>
              <p:nvCxnSpPr>
                <p:cNvPr id="89" name="Straight Connector 88">
                  <a:extLst>
                    <a:ext uri="{FF2B5EF4-FFF2-40B4-BE49-F238E27FC236}">
                      <a16:creationId xmlns:a16="http://schemas.microsoft.com/office/drawing/2014/main" id="{8E05A1EB-FC2B-72EE-0B95-496B1FF29EF1}"/>
                    </a:ext>
                  </a:extLst>
                </p:cNvPr>
                <p:cNvCxnSpPr/>
                <p:nvPr/>
              </p:nvCxnSpPr>
              <p:spPr>
                <a:xfrm flipV="1">
                  <a:off x="6934723" y="5482256"/>
                  <a:ext cx="0" cy="33463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2E50F95-B80B-18CB-2AC0-16C58ECD7F3F}"/>
                    </a:ext>
                  </a:extLst>
                </p:cNvPr>
                <p:cNvCxnSpPr>
                  <a:cxnSpLocks/>
                </p:cNvCxnSpPr>
                <p:nvPr/>
              </p:nvCxnSpPr>
              <p:spPr>
                <a:xfrm flipH="1">
                  <a:off x="6932032" y="5296116"/>
                  <a:ext cx="422584" cy="19531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476E67A2-A823-EACA-6CC4-81B5ADE3FA5D}"/>
                  </a:ext>
                </a:extLst>
              </p:cNvPr>
              <p:cNvGrpSpPr/>
              <p:nvPr/>
            </p:nvGrpSpPr>
            <p:grpSpPr>
              <a:xfrm>
                <a:off x="6932032" y="4232576"/>
                <a:ext cx="422584" cy="427187"/>
                <a:chOff x="6932032" y="5482256"/>
                <a:chExt cx="422584" cy="427187"/>
              </a:xfrm>
            </p:grpSpPr>
            <p:cxnSp>
              <p:nvCxnSpPr>
                <p:cNvPr id="105" name="Straight Connector 104">
                  <a:extLst>
                    <a:ext uri="{FF2B5EF4-FFF2-40B4-BE49-F238E27FC236}">
                      <a16:creationId xmlns:a16="http://schemas.microsoft.com/office/drawing/2014/main" id="{39FD21E7-AF34-F6A8-B731-46A8C4E6C83E}"/>
                    </a:ext>
                  </a:extLst>
                </p:cNvPr>
                <p:cNvCxnSpPr>
                  <a:cxnSpLocks/>
                </p:cNvCxnSpPr>
                <p:nvPr/>
              </p:nvCxnSpPr>
              <p:spPr>
                <a:xfrm flipV="1">
                  <a:off x="6934723" y="5482256"/>
                  <a:ext cx="0" cy="24588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10B07AA-A827-A519-F672-CC260BDF7487}"/>
                    </a:ext>
                  </a:extLst>
                </p:cNvPr>
                <p:cNvCxnSpPr>
                  <a:cxnSpLocks/>
                </p:cNvCxnSpPr>
                <p:nvPr/>
              </p:nvCxnSpPr>
              <p:spPr>
                <a:xfrm flipH="1" flipV="1">
                  <a:off x="6932032" y="5725816"/>
                  <a:ext cx="422584" cy="1836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116" name="Group 115">
              <a:extLst>
                <a:ext uri="{FF2B5EF4-FFF2-40B4-BE49-F238E27FC236}">
                  <a16:creationId xmlns:a16="http://schemas.microsoft.com/office/drawing/2014/main" id="{84A74C16-40A3-4CCC-744E-E614A7CC8B88}"/>
                </a:ext>
              </a:extLst>
            </p:cNvPr>
            <p:cNvGrpSpPr/>
            <p:nvPr/>
          </p:nvGrpSpPr>
          <p:grpSpPr>
            <a:xfrm>
              <a:off x="9092633" y="4816542"/>
              <a:ext cx="954729" cy="1000351"/>
              <a:chOff x="8903686" y="4816542"/>
              <a:chExt cx="954729" cy="1000351"/>
            </a:xfrm>
          </p:grpSpPr>
          <p:sp>
            <p:nvSpPr>
              <p:cNvPr id="83" name="Rounded Rectangle 82">
                <a:extLst>
                  <a:ext uri="{FF2B5EF4-FFF2-40B4-BE49-F238E27FC236}">
                    <a16:creationId xmlns:a16="http://schemas.microsoft.com/office/drawing/2014/main" id="{6C0F2672-2A9C-F682-7661-4327460BA7CA}"/>
                  </a:ext>
                </a:extLst>
              </p:cNvPr>
              <p:cNvSpPr/>
              <p:nvPr/>
            </p:nvSpPr>
            <p:spPr>
              <a:xfrm flipV="1">
                <a:off x="8903686" y="5459397"/>
                <a:ext cx="515136" cy="45719"/>
              </a:xfrm>
              <a:prstGeom prst="roundRect">
                <a:avLst>
                  <a:gd name="adj" fmla="val 5000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RO"/>
              </a:p>
            </p:txBody>
          </p:sp>
          <p:grpSp>
            <p:nvGrpSpPr>
              <p:cNvPr id="102" name="Group 101">
                <a:extLst>
                  <a:ext uri="{FF2B5EF4-FFF2-40B4-BE49-F238E27FC236}">
                    <a16:creationId xmlns:a16="http://schemas.microsoft.com/office/drawing/2014/main" id="{1AC93223-33F1-4F10-E8F4-4EB61EED3C19}"/>
                  </a:ext>
                </a:extLst>
              </p:cNvPr>
              <p:cNvGrpSpPr/>
              <p:nvPr/>
            </p:nvGrpSpPr>
            <p:grpSpPr>
              <a:xfrm>
                <a:off x="9418822" y="5482256"/>
                <a:ext cx="439593" cy="334637"/>
                <a:chOff x="9418822" y="5482256"/>
                <a:chExt cx="439593" cy="334637"/>
              </a:xfrm>
            </p:grpSpPr>
            <p:cxnSp>
              <p:nvCxnSpPr>
                <p:cNvPr id="92" name="Straight Connector 91">
                  <a:extLst>
                    <a:ext uri="{FF2B5EF4-FFF2-40B4-BE49-F238E27FC236}">
                      <a16:creationId xmlns:a16="http://schemas.microsoft.com/office/drawing/2014/main" id="{BA89A244-A8F6-9526-C13C-2071A4F8CF0A}"/>
                    </a:ext>
                  </a:extLst>
                </p:cNvPr>
                <p:cNvCxnSpPr/>
                <p:nvPr/>
              </p:nvCxnSpPr>
              <p:spPr>
                <a:xfrm flipV="1">
                  <a:off x="9858415" y="5482256"/>
                  <a:ext cx="0" cy="33463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89AA15CC-EBD7-EDE6-2F24-4E06B7A5CC12}"/>
                    </a:ext>
                  </a:extLst>
                </p:cNvPr>
                <p:cNvCxnSpPr>
                  <a:cxnSpLocks/>
                  <a:stCxn id="83" idx="3"/>
                </p:cNvCxnSpPr>
                <p:nvPr/>
              </p:nvCxnSpPr>
              <p:spPr>
                <a:xfrm>
                  <a:off x="9418822" y="5482256"/>
                  <a:ext cx="4363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A672D660-DBBB-6529-9B63-9A4ED7A9A8F1}"/>
                  </a:ext>
                </a:extLst>
              </p:cNvPr>
              <p:cNvGrpSpPr/>
              <p:nvPr/>
            </p:nvGrpSpPr>
            <p:grpSpPr>
              <a:xfrm>
                <a:off x="9395609" y="4816542"/>
                <a:ext cx="462806" cy="640941"/>
                <a:chOff x="9395609" y="5482256"/>
                <a:chExt cx="462806" cy="640941"/>
              </a:xfrm>
            </p:grpSpPr>
            <p:cxnSp>
              <p:nvCxnSpPr>
                <p:cNvPr id="111" name="Straight Connector 110">
                  <a:extLst>
                    <a:ext uri="{FF2B5EF4-FFF2-40B4-BE49-F238E27FC236}">
                      <a16:creationId xmlns:a16="http://schemas.microsoft.com/office/drawing/2014/main" id="{DD624316-3A2B-03AE-4D0B-68D4F832AB8B}"/>
                    </a:ext>
                  </a:extLst>
                </p:cNvPr>
                <p:cNvCxnSpPr>
                  <a:cxnSpLocks/>
                </p:cNvCxnSpPr>
                <p:nvPr/>
              </p:nvCxnSpPr>
              <p:spPr>
                <a:xfrm flipV="1">
                  <a:off x="9858415" y="5482256"/>
                  <a:ext cx="0" cy="17524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277135E-A2C6-2427-7520-B6B08D636BE7}"/>
                    </a:ext>
                  </a:extLst>
                </p:cNvPr>
                <p:cNvCxnSpPr>
                  <a:cxnSpLocks/>
                </p:cNvCxnSpPr>
                <p:nvPr/>
              </p:nvCxnSpPr>
              <p:spPr>
                <a:xfrm flipV="1">
                  <a:off x="9395609" y="5652476"/>
                  <a:ext cx="459537" cy="47072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119" name="Oval 118">
              <a:extLst>
                <a:ext uri="{FF2B5EF4-FFF2-40B4-BE49-F238E27FC236}">
                  <a16:creationId xmlns:a16="http://schemas.microsoft.com/office/drawing/2014/main" id="{19F6F361-C1A2-1FF0-F9F6-C61E5FDE8172}"/>
                </a:ext>
              </a:extLst>
            </p:cNvPr>
            <p:cNvSpPr/>
            <p:nvPr/>
          </p:nvSpPr>
          <p:spPr>
            <a:xfrm>
              <a:off x="7764215" y="4638257"/>
              <a:ext cx="660187" cy="660187"/>
            </a:xfrm>
            <a:prstGeom prst="ellipse">
              <a:avLst/>
            </a:prstGeom>
            <a:solidFill>
              <a:schemeClr val="accent3">
                <a:lumMod val="40000"/>
                <a:lumOff val="60000"/>
                <a:alpha val="3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33" name="Oval 132">
              <a:extLst>
                <a:ext uri="{FF2B5EF4-FFF2-40B4-BE49-F238E27FC236}">
                  <a16:creationId xmlns:a16="http://schemas.microsoft.com/office/drawing/2014/main" id="{F8B07B5B-36A1-7355-E113-4B4058FCEF1B}"/>
                </a:ext>
              </a:extLst>
            </p:cNvPr>
            <p:cNvSpPr/>
            <p:nvPr/>
          </p:nvSpPr>
          <p:spPr>
            <a:xfrm>
              <a:off x="7839037" y="4714021"/>
              <a:ext cx="504006" cy="504004"/>
            </a:xfrm>
            <a:prstGeom prst="ellipse">
              <a:avLst/>
            </a:prstGeom>
            <a:solidFill>
              <a:schemeClr val="accent3">
                <a:lumMod val="40000"/>
                <a:lumOff val="60000"/>
                <a:alpha val="3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40" name="TextBox 39">
              <a:extLst>
                <a:ext uri="{FF2B5EF4-FFF2-40B4-BE49-F238E27FC236}">
                  <a16:creationId xmlns:a16="http://schemas.microsoft.com/office/drawing/2014/main" id="{FDBAB7FD-0697-B278-F92D-FB1058471C79}"/>
                </a:ext>
              </a:extLst>
            </p:cNvPr>
            <p:cNvSpPr txBox="1"/>
            <p:nvPr/>
          </p:nvSpPr>
          <p:spPr>
            <a:xfrm>
              <a:off x="8028636" y="4377581"/>
              <a:ext cx="1455742" cy="732445"/>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dirty="0">
                  <a:ln>
                    <a:noFill/>
                  </a:ln>
                  <a:effectLst/>
                  <a:uLnTx/>
                  <a:uFillTx/>
                  <a:latin typeface="Arial" panose="020B0604020202020204"/>
                  <a:ea typeface="+mn-ea"/>
                  <a:cs typeface="+mn-cs"/>
                </a:rPr>
                <a:t>Estimation de la baisse due aux obstacles à l'accès* : </a:t>
              </a:r>
              <a:br>
                <a:rPr kumimoji="0" lang="en-US" sz="1050" u="none" strike="noStrike" kern="1200" cap="none" spc="0" normalizeH="0" baseline="0" noProof="0" dirty="0">
                  <a:ln>
                    <a:noFill/>
                  </a:ln>
                  <a:effectLst/>
                  <a:uLnTx/>
                  <a:uFillTx/>
                  <a:latin typeface="Arial" panose="020B0604020202020204"/>
                  <a:ea typeface="+mn-ea"/>
                  <a:cs typeface="+mn-cs"/>
                </a:rPr>
              </a:br>
              <a:endParaRPr kumimoji="0" lang="en-US" sz="1050" u="none" strike="noStrike" kern="1200" cap="none" spc="0" normalizeH="0" baseline="0" noProof="0" dirty="0">
                <a:ln>
                  <a:noFill/>
                </a:ln>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latin typeface="Arial" panose="020B0604020202020204"/>
                  <a:ea typeface="+mn-ea"/>
                  <a:cs typeface="+mn-cs"/>
                </a:rPr>
                <a:t>~97</a:t>
              </a:r>
              <a:endParaRPr kumimoji="0" lang="en-GB" sz="1100" b="1" u="none" strike="noStrike" kern="1200" cap="none" spc="0" normalizeH="0" baseline="0" noProof="0" dirty="0">
                <a:ln>
                  <a:noFill/>
                </a:ln>
                <a:effectLst/>
                <a:uLnTx/>
                <a:uFillTx/>
                <a:latin typeface="Arial" panose="020B0604020202020204"/>
                <a:ea typeface="+mn-ea"/>
                <a:cs typeface="+mn-cs"/>
              </a:endParaRPr>
            </a:p>
          </p:txBody>
        </p:sp>
        <p:pic>
          <p:nvPicPr>
            <p:cNvPr id="131" name="Graphic 130">
              <a:extLst>
                <a:ext uri="{FF2B5EF4-FFF2-40B4-BE49-F238E27FC236}">
                  <a16:creationId xmlns:a16="http://schemas.microsoft.com/office/drawing/2014/main" id="{660B8BE1-11B7-D282-83A6-DFF921740A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110429">
              <a:off x="8297815" y="5062367"/>
              <a:ext cx="78567" cy="62608"/>
            </a:xfrm>
            <a:prstGeom prst="rect">
              <a:avLst/>
            </a:prstGeom>
          </p:spPr>
        </p:pic>
        <p:pic>
          <p:nvPicPr>
            <p:cNvPr id="132" name="Graphic 131">
              <a:extLst>
                <a:ext uri="{FF2B5EF4-FFF2-40B4-BE49-F238E27FC236}">
                  <a16:creationId xmlns:a16="http://schemas.microsoft.com/office/drawing/2014/main" id="{3DE372AD-ADDA-CC31-89CF-AA1D4CE308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2387352">
              <a:off x="7807820" y="4830875"/>
              <a:ext cx="78567" cy="62608"/>
            </a:xfrm>
            <a:prstGeom prst="rect">
              <a:avLst/>
            </a:prstGeom>
          </p:spPr>
        </p:pic>
      </p:grpSp>
      <p:grpSp>
        <p:nvGrpSpPr>
          <p:cNvPr id="174" name="Group 173">
            <a:extLst>
              <a:ext uri="{FF2B5EF4-FFF2-40B4-BE49-F238E27FC236}">
                <a16:creationId xmlns:a16="http://schemas.microsoft.com/office/drawing/2014/main" id="{C2C3C8A0-1AE0-CFC1-F13B-B96D7CDD091E}"/>
              </a:ext>
            </a:extLst>
          </p:cNvPr>
          <p:cNvGrpSpPr/>
          <p:nvPr/>
        </p:nvGrpSpPr>
        <p:grpSpPr>
          <a:xfrm rot="6059141">
            <a:off x="158699" y="5125659"/>
            <a:ext cx="1145478" cy="975826"/>
            <a:chOff x="667280" y="4570151"/>
            <a:chExt cx="1145478" cy="975826"/>
          </a:xfrm>
        </p:grpSpPr>
        <p:sp>
          <p:nvSpPr>
            <p:cNvPr id="175" name="Freeform: Shape 38">
              <a:extLst>
                <a:ext uri="{FF2B5EF4-FFF2-40B4-BE49-F238E27FC236}">
                  <a16:creationId xmlns:a16="http://schemas.microsoft.com/office/drawing/2014/main" id="{64AA62AF-CC4C-C60B-0D98-3B61BD936568}"/>
                </a:ext>
              </a:extLst>
            </p:cNvPr>
            <p:cNvSpPr/>
            <p:nvPr/>
          </p:nvSpPr>
          <p:spPr>
            <a:xfrm>
              <a:off x="772965" y="4570151"/>
              <a:ext cx="766937" cy="713706"/>
            </a:xfrm>
            <a:custGeom>
              <a:avLst/>
              <a:gdLst>
                <a:gd name="connsiteX0" fmla="*/ 83 w 766937"/>
                <a:gd name="connsiteY0" fmla="*/ 117877 h 713706"/>
                <a:gd name="connsiteX1" fmla="*/ 20961 w 766937"/>
                <a:gd name="connsiteY1" fmla="*/ 227313 h 713706"/>
                <a:gd name="connsiteX2" fmla="*/ 232177 w 766937"/>
                <a:gd name="connsiteY2" fmla="*/ 506034 h 713706"/>
                <a:gd name="connsiteX3" fmla="*/ 464445 w 766937"/>
                <a:gd name="connsiteY3" fmla="*/ 639480 h 713706"/>
                <a:gd name="connsiteX4" fmla="*/ 547610 w 766937"/>
                <a:gd name="connsiteY4" fmla="*/ 671667 h 713706"/>
                <a:gd name="connsiteX5" fmla="*/ 685927 w 766937"/>
                <a:gd name="connsiteY5" fmla="*/ 710987 h 713706"/>
                <a:gd name="connsiteX6" fmla="*/ 726465 w 766937"/>
                <a:gd name="connsiteY6" fmla="*/ 712727 h 713706"/>
                <a:gd name="connsiteX7" fmla="*/ 757086 w 766937"/>
                <a:gd name="connsiteY7" fmla="*/ 636870 h 713706"/>
                <a:gd name="connsiteX8" fmla="*/ 736730 w 766937"/>
                <a:gd name="connsiteY8" fmla="*/ 613730 h 713706"/>
                <a:gd name="connsiteX9" fmla="*/ 550915 w 766937"/>
                <a:gd name="connsiteY9" fmla="*/ 454013 h 713706"/>
                <a:gd name="connsiteX10" fmla="*/ 315516 w 766937"/>
                <a:gd name="connsiteY10" fmla="*/ 199475 h 713706"/>
                <a:gd name="connsiteX11" fmla="*/ 247140 w 766937"/>
                <a:gd name="connsiteY11" fmla="*/ 95781 h 713706"/>
                <a:gd name="connsiteX12" fmla="*/ 178938 w 766937"/>
                <a:gd name="connsiteY12" fmla="*/ 26188 h 713706"/>
                <a:gd name="connsiteX13" fmla="*/ 95252 w 766937"/>
                <a:gd name="connsiteY13" fmla="*/ 264 h 713706"/>
                <a:gd name="connsiteX14" fmla="*/ 33314 w 766937"/>
                <a:gd name="connsiteY14" fmla="*/ 29319 h 713706"/>
                <a:gd name="connsiteX15" fmla="*/ 257 w 766937"/>
                <a:gd name="connsiteY15" fmla="*/ 117703 h 71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6937" h="713706">
                  <a:moveTo>
                    <a:pt x="83" y="117877"/>
                  </a:moveTo>
                  <a:cubicBezTo>
                    <a:pt x="-961" y="155979"/>
                    <a:pt x="7913" y="192168"/>
                    <a:pt x="20961" y="227313"/>
                  </a:cubicBezTo>
                  <a:cubicBezTo>
                    <a:pt x="63935" y="343012"/>
                    <a:pt x="135790" y="435049"/>
                    <a:pt x="232177" y="506034"/>
                  </a:cubicBezTo>
                  <a:cubicBezTo>
                    <a:pt x="305077" y="559796"/>
                    <a:pt x="382673" y="604161"/>
                    <a:pt x="464445" y="639480"/>
                  </a:cubicBezTo>
                  <a:cubicBezTo>
                    <a:pt x="491761" y="651311"/>
                    <a:pt x="519424" y="661924"/>
                    <a:pt x="547610" y="671667"/>
                  </a:cubicBezTo>
                  <a:cubicBezTo>
                    <a:pt x="593193" y="687325"/>
                    <a:pt x="638603" y="703158"/>
                    <a:pt x="685927" y="710987"/>
                  </a:cubicBezTo>
                  <a:cubicBezTo>
                    <a:pt x="699323" y="713249"/>
                    <a:pt x="712894" y="714815"/>
                    <a:pt x="726465" y="712727"/>
                  </a:cubicBezTo>
                  <a:cubicBezTo>
                    <a:pt x="763175" y="706985"/>
                    <a:pt x="778660" y="668535"/>
                    <a:pt x="757086" y="636870"/>
                  </a:cubicBezTo>
                  <a:cubicBezTo>
                    <a:pt x="751170" y="628345"/>
                    <a:pt x="744037" y="620864"/>
                    <a:pt x="736730" y="613730"/>
                  </a:cubicBezTo>
                  <a:cubicBezTo>
                    <a:pt x="677575" y="557012"/>
                    <a:pt x="617203" y="501685"/>
                    <a:pt x="550915" y="454013"/>
                  </a:cubicBezTo>
                  <a:cubicBezTo>
                    <a:pt x="456094" y="385812"/>
                    <a:pt x="377628" y="301082"/>
                    <a:pt x="315516" y="199475"/>
                  </a:cubicBezTo>
                  <a:cubicBezTo>
                    <a:pt x="293942" y="164157"/>
                    <a:pt x="271846" y="128838"/>
                    <a:pt x="247140" y="95781"/>
                  </a:cubicBezTo>
                  <a:cubicBezTo>
                    <a:pt x="227306" y="69336"/>
                    <a:pt x="205906" y="44804"/>
                    <a:pt x="178938" y="26188"/>
                  </a:cubicBezTo>
                  <a:cubicBezTo>
                    <a:pt x="153537" y="8615"/>
                    <a:pt x="126047" y="-1824"/>
                    <a:pt x="95252" y="264"/>
                  </a:cubicBezTo>
                  <a:cubicBezTo>
                    <a:pt x="71243" y="2004"/>
                    <a:pt x="50365" y="11747"/>
                    <a:pt x="33314" y="29319"/>
                  </a:cubicBezTo>
                  <a:cubicBezTo>
                    <a:pt x="9826" y="53503"/>
                    <a:pt x="1301" y="84124"/>
                    <a:pt x="257" y="117703"/>
                  </a:cubicBezTo>
                </a:path>
              </a:pathLst>
            </a:custGeom>
            <a:solidFill>
              <a:srgbClr val="00677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176" name="Freeform: Shape 39">
              <a:extLst>
                <a:ext uri="{FF2B5EF4-FFF2-40B4-BE49-F238E27FC236}">
                  <a16:creationId xmlns:a16="http://schemas.microsoft.com/office/drawing/2014/main" id="{4966CC9C-5DFD-1403-E54A-B268F8610BEC}"/>
                </a:ext>
              </a:extLst>
            </p:cNvPr>
            <p:cNvSpPr/>
            <p:nvPr/>
          </p:nvSpPr>
          <p:spPr>
            <a:xfrm>
              <a:off x="1243488" y="4764347"/>
              <a:ext cx="329050" cy="266176"/>
            </a:xfrm>
            <a:custGeom>
              <a:avLst/>
              <a:gdLst>
                <a:gd name="connsiteX0" fmla="*/ 8363 w 329050"/>
                <a:gd name="connsiteY0" fmla="*/ 72611 h 266176"/>
                <a:gd name="connsiteX1" fmla="*/ 24717 w 329050"/>
                <a:gd name="connsiteY1" fmla="*/ 93489 h 266176"/>
                <a:gd name="connsiteX2" fmla="*/ 135197 w 329050"/>
                <a:gd name="connsiteY2" fmla="*/ 198575 h 266176"/>
                <a:gd name="connsiteX3" fmla="*/ 244807 w 329050"/>
                <a:gd name="connsiteY3" fmla="*/ 260687 h 266176"/>
                <a:gd name="connsiteX4" fmla="*/ 286041 w 329050"/>
                <a:gd name="connsiteY4" fmla="*/ 265559 h 266176"/>
                <a:gd name="connsiteX5" fmla="*/ 328667 w 329050"/>
                <a:gd name="connsiteY5" fmla="*/ 203969 h 266176"/>
                <a:gd name="connsiteX6" fmla="*/ 309355 w 329050"/>
                <a:gd name="connsiteY6" fmla="*/ 166040 h 266176"/>
                <a:gd name="connsiteX7" fmla="*/ 272470 w 329050"/>
                <a:gd name="connsiteY7" fmla="*/ 131765 h 266176"/>
                <a:gd name="connsiteX8" fmla="*/ 141112 w 329050"/>
                <a:gd name="connsiteY8" fmla="*/ 40250 h 266176"/>
                <a:gd name="connsiteX9" fmla="*/ 87699 w 329050"/>
                <a:gd name="connsiteY9" fmla="*/ 9107 h 266176"/>
                <a:gd name="connsiteX10" fmla="*/ 40724 w 329050"/>
                <a:gd name="connsiteY10" fmla="*/ 408 h 266176"/>
                <a:gd name="connsiteX11" fmla="*/ 8363 w 329050"/>
                <a:gd name="connsiteY11" fmla="*/ 72611 h 26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050" h="266176">
                  <a:moveTo>
                    <a:pt x="8363" y="72611"/>
                  </a:moveTo>
                  <a:cubicBezTo>
                    <a:pt x="13061" y="80092"/>
                    <a:pt x="18802" y="87052"/>
                    <a:pt x="24717" y="93489"/>
                  </a:cubicBezTo>
                  <a:cubicBezTo>
                    <a:pt x="59688" y="130722"/>
                    <a:pt x="96225" y="166214"/>
                    <a:pt x="135197" y="198575"/>
                  </a:cubicBezTo>
                  <a:cubicBezTo>
                    <a:pt x="168254" y="226065"/>
                    <a:pt x="203920" y="248856"/>
                    <a:pt x="244807" y="260687"/>
                  </a:cubicBezTo>
                  <a:cubicBezTo>
                    <a:pt x="258377" y="264689"/>
                    <a:pt x="271948" y="267472"/>
                    <a:pt x="286041" y="265559"/>
                  </a:cubicBezTo>
                  <a:cubicBezTo>
                    <a:pt x="315618" y="261731"/>
                    <a:pt x="331798" y="240853"/>
                    <a:pt x="328667" y="203969"/>
                  </a:cubicBezTo>
                  <a:cubicBezTo>
                    <a:pt x="327623" y="192834"/>
                    <a:pt x="319968" y="178741"/>
                    <a:pt x="309355" y="166040"/>
                  </a:cubicBezTo>
                  <a:cubicBezTo>
                    <a:pt x="298394" y="152991"/>
                    <a:pt x="285693" y="142030"/>
                    <a:pt x="272470" y="131765"/>
                  </a:cubicBezTo>
                  <a:cubicBezTo>
                    <a:pt x="230366" y="98535"/>
                    <a:pt x="184782" y="70871"/>
                    <a:pt x="141112" y="40250"/>
                  </a:cubicBezTo>
                  <a:cubicBezTo>
                    <a:pt x="124062" y="28419"/>
                    <a:pt x="106664" y="17284"/>
                    <a:pt x="87699" y="9107"/>
                  </a:cubicBezTo>
                  <a:cubicBezTo>
                    <a:pt x="72563" y="2670"/>
                    <a:pt x="57078" y="-1332"/>
                    <a:pt x="40724" y="408"/>
                  </a:cubicBezTo>
                  <a:cubicBezTo>
                    <a:pt x="5405" y="4409"/>
                    <a:pt x="-11297" y="41642"/>
                    <a:pt x="8363" y="72611"/>
                  </a:cubicBezTo>
                </a:path>
              </a:pathLst>
            </a:custGeom>
            <a:solidFill>
              <a:srgbClr val="00677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177" name="Freeform: Shape 40">
              <a:extLst>
                <a:ext uri="{FF2B5EF4-FFF2-40B4-BE49-F238E27FC236}">
                  <a16:creationId xmlns:a16="http://schemas.microsoft.com/office/drawing/2014/main" id="{B0E9831D-64D1-6076-2C5C-93FBF33FB713}"/>
                </a:ext>
              </a:extLst>
            </p:cNvPr>
            <p:cNvSpPr/>
            <p:nvPr/>
          </p:nvSpPr>
          <p:spPr>
            <a:xfrm>
              <a:off x="1217741" y="5306385"/>
              <a:ext cx="310877" cy="239592"/>
            </a:xfrm>
            <a:custGeom>
              <a:avLst/>
              <a:gdLst>
                <a:gd name="connsiteX0" fmla="*/ 9230 w 310877"/>
                <a:gd name="connsiteY0" fmla="*/ 127511 h 239592"/>
                <a:gd name="connsiteX1" fmla="*/ 50291 w 310877"/>
                <a:gd name="connsiteY1" fmla="*/ 176052 h 239592"/>
                <a:gd name="connsiteX2" fmla="*/ 191391 w 310877"/>
                <a:gd name="connsiteY2" fmla="*/ 237468 h 239592"/>
                <a:gd name="connsiteX3" fmla="*/ 288822 w 310877"/>
                <a:gd name="connsiteY3" fmla="*/ 205977 h 239592"/>
                <a:gd name="connsiteX4" fmla="*/ 299261 w 310877"/>
                <a:gd name="connsiteY4" fmla="*/ 121073 h 239592"/>
                <a:gd name="connsiteX5" fmla="*/ 130323 w 310877"/>
                <a:gd name="connsiteY5" fmla="*/ 3808 h 239592"/>
                <a:gd name="connsiteX6" fmla="*/ 63339 w 310877"/>
                <a:gd name="connsiteY6" fmla="*/ 4156 h 239592"/>
                <a:gd name="connsiteX7" fmla="*/ 9404 w 310877"/>
                <a:gd name="connsiteY7" fmla="*/ 127511 h 23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877" h="239592">
                  <a:moveTo>
                    <a:pt x="9230" y="127511"/>
                  </a:moveTo>
                  <a:cubicBezTo>
                    <a:pt x="18626" y="147693"/>
                    <a:pt x="33066" y="163351"/>
                    <a:pt x="50291" y="176052"/>
                  </a:cubicBezTo>
                  <a:cubicBezTo>
                    <a:pt x="92917" y="207543"/>
                    <a:pt x="140588" y="227203"/>
                    <a:pt x="191391" y="237468"/>
                  </a:cubicBezTo>
                  <a:cubicBezTo>
                    <a:pt x="228798" y="244949"/>
                    <a:pt x="261333" y="232249"/>
                    <a:pt x="288822" y="205977"/>
                  </a:cubicBezTo>
                  <a:cubicBezTo>
                    <a:pt x="313180" y="182837"/>
                    <a:pt x="318399" y="147345"/>
                    <a:pt x="299261" y="121073"/>
                  </a:cubicBezTo>
                  <a:cubicBezTo>
                    <a:pt x="255765" y="61919"/>
                    <a:pt x="201830" y="18771"/>
                    <a:pt x="130323" y="3808"/>
                  </a:cubicBezTo>
                  <a:cubicBezTo>
                    <a:pt x="107879" y="-889"/>
                    <a:pt x="85609" y="-1759"/>
                    <a:pt x="63339" y="4156"/>
                  </a:cubicBezTo>
                  <a:cubicBezTo>
                    <a:pt x="9752" y="18423"/>
                    <a:pt x="-14953" y="75315"/>
                    <a:pt x="9404" y="127511"/>
                  </a:cubicBezTo>
                </a:path>
              </a:pathLst>
            </a:custGeom>
            <a:solidFill>
              <a:srgbClr val="00677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178" name="Freeform: Shape 41">
              <a:extLst>
                <a:ext uri="{FF2B5EF4-FFF2-40B4-BE49-F238E27FC236}">
                  <a16:creationId xmlns:a16="http://schemas.microsoft.com/office/drawing/2014/main" id="{867B5DFD-47DE-1B4F-B30F-ACF658390463}"/>
                </a:ext>
              </a:extLst>
            </p:cNvPr>
            <p:cNvSpPr/>
            <p:nvPr/>
          </p:nvSpPr>
          <p:spPr>
            <a:xfrm>
              <a:off x="1566660" y="5046015"/>
              <a:ext cx="246098" cy="209539"/>
            </a:xfrm>
            <a:custGeom>
              <a:avLst/>
              <a:gdLst>
                <a:gd name="connsiteX0" fmla="*/ 5495 w 246098"/>
                <a:gd name="connsiteY0" fmla="*/ 51918 h 209539"/>
                <a:gd name="connsiteX1" fmla="*/ 20632 w 246098"/>
                <a:gd name="connsiteY1" fmla="*/ 128297 h 209539"/>
                <a:gd name="connsiteX2" fmla="*/ 180697 w 246098"/>
                <a:gd name="connsiteY2" fmla="*/ 209373 h 209539"/>
                <a:gd name="connsiteX3" fmla="*/ 245767 w 246098"/>
                <a:gd name="connsiteY3" fmla="*/ 134212 h 209539"/>
                <a:gd name="connsiteX4" fmla="*/ 221583 w 246098"/>
                <a:gd name="connsiteY4" fmla="*/ 77668 h 209539"/>
                <a:gd name="connsiteX5" fmla="*/ 111277 w 246098"/>
                <a:gd name="connsiteY5" fmla="*/ 4942 h 209539"/>
                <a:gd name="connsiteX6" fmla="*/ 73349 w 246098"/>
                <a:gd name="connsiteY6" fmla="*/ 767 h 209539"/>
                <a:gd name="connsiteX7" fmla="*/ 5495 w 246098"/>
                <a:gd name="connsiteY7" fmla="*/ 51918 h 209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098" h="209539">
                  <a:moveTo>
                    <a:pt x="5495" y="51918"/>
                  </a:moveTo>
                  <a:cubicBezTo>
                    <a:pt x="-6683" y="80103"/>
                    <a:pt x="2712" y="105853"/>
                    <a:pt x="20632" y="128297"/>
                  </a:cubicBezTo>
                  <a:cubicBezTo>
                    <a:pt x="62214" y="180840"/>
                    <a:pt x="117889" y="205197"/>
                    <a:pt x="180697" y="209373"/>
                  </a:cubicBezTo>
                  <a:cubicBezTo>
                    <a:pt x="222627" y="212157"/>
                    <a:pt x="249420" y="179622"/>
                    <a:pt x="245767" y="134212"/>
                  </a:cubicBezTo>
                  <a:cubicBezTo>
                    <a:pt x="243679" y="114204"/>
                    <a:pt x="236198" y="94196"/>
                    <a:pt x="221583" y="77668"/>
                  </a:cubicBezTo>
                  <a:cubicBezTo>
                    <a:pt x="190962" y="43045"/>
                    <a:pt x="154425" y="18339"/>
                    <a:pt x="111277" y="4942"/>
                  </a:cubicBezTo>
                  <a:cubicBezTo>
                    <a:pt x="98925" y="1115"/>
                    <a:pt x="86224" y="-1321"/>
                    <a:pt x="73349" y="767"/>
                  </a:cubicBezTo>
                  <a:cubicBezTo>
                    <a:pt x="42380" y="5638"/>
                    <a:pt x="18544" y="21993"/>
                    <a:pt x="5495" y="51918"/>
                  </a:cubicBezTo>
                </a:path>
              </a:pathLst>
            </a:custGeom>
            <a:solidFill>
              <a:srgbClr val="00677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sp>
          <p:nvSpPr>
            <p:cNvPr id="179" name="Freeform: Shape 42">
              <a:extLst>
                <a:ext uri="{FF2B5EF4-FFF2-40B4-BE49-F238E27FC236}">
                  <a16:creationId xmlns:a16="http://schemas.microsoft.com/office/drawing/2014/main" id="{271B12B7-83DA-7594-3CB1-BF91613B18C8}"/>
                </a:ext>
              </a:extLst>
            </p:cNvPr>
            <p:cNvSpPr/>
            <p:nvPr/>
          </p:nvSpPr>
          <p:spPr>
            <a:xfrm>
              <a:off x="667280" y="5129455"/>
              <a:ext cx="481258" cy="306173"/>
            </a:xfrm>
            <a:custGeom>
              <a:avLst/>
              <a:gdLst>
                <a:gd name="connsiteX0" fmla="*/ 33392 w 481258"/>
                <a:gd name="connsiteY0" fmla="*/ 8146 h 306173"/>
                <a:gd name="connsiteX1" fmla="*/ 10948 w 481258"/>
                <a:gd name="connsiteY1" fmla="*/ 84351 h 306173"/>
                <a:gd name="connsiteX2" fmla="*/ 42787 w 481258"/>
                <a:gd name="connsiteY2" fmla="*/ 110448 h 306173"/>
                <a:gd name="connsiteX3" fmla="*/ 100897 w 481258"/>
                <a:gd name="connsiteY3" fmla="*/ 129065 h 306173"/>
                <a:gd name="connsiteX4" fmla="*/ 185105 w 481258"/>
                <a:gd name="connsiteY4" fmla="*/ 160904 h 306173"/>
                <a:gd name="connsiteX5" fmla="*/ 279230 w 481258"/>
                <a:gd name="connsiteY5" fmla="*/ 233455 h 306173"/>
                <a:gd name="connsiteX6" fmla="*/ 346736 w 481258"/>
                <a:gd name="connsiteY6" fmla="*/ 285128 h 306173"/>
                <a:gd name="connsiteX7" fmla="*/ 406238 w 481258"/>
                <a:gd name="connsiteY7" fmla="*/ 306006 h 306173"/>
                <a:gd name="connsiteX8" fmla="*/ 481051 w 481258"/>
                <a:gd name="connsiteY8" fmla="*/ 236760 h 306173"/>
                <a:gd name="connsiteX9" fmla="*/ 466959 w 481258"/>
                <a:gd name="connsiteY9" fmla="*/ 170647 h 306173"/>
                <a:gd name="connsiteX10" fmla="*/ 335079 w 481258"/>
                <a:gd name="connsiteY10" fmla="*/ 40855 h 306173"/>
                <a:gd name="connsiteX11" fmla="*/ 310895 w 481258"/>
                <a:gd name="connsiteY11" fmla="*/ 30938 h 306173"/>
                <a:gd name="connsiteX12" fmla="*/ 48006 w 481258"/>
                <a:gd name="connsiteY12" fmla="*/ 4492 h 306173"/>
                <a:gd name="connsiteX13" fmla="*/ 33392 w 481258"/>
                <a:gd name="connsiteY13" fmla="*/ 7798 h 30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258" h="306173">
                  <a:moveTo>
                    <a:pt x="33392" y="8146"/>
                  </a:moveTo>
                  <a:cubicBezTo>
                    <a:pt x="509" y="18933"/>
                    <a:pt x="-10278" y="55296"/>
                    <a:pt x="10948" y="84351"/>
                  </a:cubicBezTo>
                  <a:cubicBezTo>
                    <a:pt x="19473" y="96008"/>
                    <a:pt x="30608" y="103837"/>
                    <a:pt x="42787" y="110448"/>
                  </a:cubicBezTo>
                  <a:cubicBezTo>
                    <a:pt x="61055" y="120366"/>
                    <a:pt x="80715" y="125933"/>
                    <a:pt x="100897" y="129065"/>
                  </a:cubicBezTo>
                  <a:cubicBezTo>
                    <a:pt x="130996" y="133936"/>
                    <a:pt x="158660" y="145245"/>
                    <a:pt x="185105" y="160904"/>
                  </a:cubicBezTo>
                  <a:cubicBezTo>
                    <a:pt x="219206" y="181086"/>
                    <a:pt x="249131" y="207357"/>
                    <a:pt x="279230" y="233455"/>
                  </a:cubicBezTo>
                  <a:cubicBezTo>
                    <a:pt x="300630" y="252245"/>
                    <a:pt x="322378" y="270687"/>
                    <a:pt x="346736" y="285128"/>
                  </a:cubicBezTo>
                  <a:cubicBezTo>
                    <a:pt x="365352" y="296089"/>
                    <a:pt x="384665" y="304614"/>
                    <a:pt x="406238" y="306006"/>
                  </a:cubicBezTo>
                  <a:cubicBezTo>
                    <a:pt x="447821" y="308616"/>
                    <a:pt x="478442" y="280430"/>
                    <a:pt x="481051" y="236760"/>
                  </a:cubicBezTo>
                  <a:cubicBezTo>
                    <a:pt x="482443" y="213273"/>
                    <a:pt x="476702" y="191351"/>
                    <a:pt x="466959" y="170647"/>
                  </a:cubicBezTo>
                  <a:cubicBezTo>
                    <a:pt x="438773" y="110275"/>
                    <a:pt x="392668" y="69910"/>
                    <a:pt x="335079" y="40855"/>
                  </a:cubicBezTo>
                  <a:cubicBezTo>
                    <a:pt x="327598" y="37723"/>
                    <a:pt x="319421" y="34070"/>
                    <a:pt x="310895" y="30938"/>
                  </a:cubicBezTo>
                  <a:cubicBezTo>
                    <a:pt x="225122" y="-727"/>
                    <a:pt x="137086" y="-5077"/>
                    <a:pt x="48006" y="4492"/>
                  </a:cubicBezTo>
                  <a:cubicBezTo>
                    <a:pt x="43135" y="5014"/>
                    <a:pt x="38089" y="6232"/>
                    <a:pt x="33392" y="7798"/>
                  </a:cubicBezTo>
                </a:path>
              </a:pathLst>
            </a:custGeom>
            <a:solidFill>
              <a:srgbClr val="00677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1E2F"/>
                </a:solidFill>
                <a:effectLst/>
                <a:uLnTx/>
                <a:uFillTx/>
                <a:latin typeface="Arial" panose="020B0604020202020204"/>
                <a:ea typeface="+mn-ea"/>
                <a:cs typeface="+mn-cs"/>
              </a:endParaRPr>
            </a:p>
          </p:txBody>
        </p:sp>
      </p:grpSp>
      <p:grpSp>
        <p:nvGrpSpPr>
          <p:cNvPr id="171" name="Group 170">
            <a:extLst>
              <a:ext uri="{FF2B5EF4-FFF2-40B4-BE49-F238E27FC236}">
                <a16:creationId xmlns:a16="http://schemas.microsoft.com/office/drawing/2014/main" id="{8C120713-474C-AE7A-EE08-F7EA3EB15FB0}"/>
              </a:ext>
            </a:extLst>
          </p:cNvPr>
          <p:cNvGrpSpPr/>
          <p:nvPr/>
        </p:nvGrpSpPr>
        <p:grpSpPr>
          <a:xfrm>
            <a:off x="671201" y="1996138"/>
            <a:ext cx="10813468" cy="1913796"/>
            <a:chOff x="671201" y="1509908"/>
            <a:chExt cx="10813468" cy="1913796"/>
          </a:xfrm>
        </p:grpSpPr>
        <p:sp>
          <p:nvSpPr>
            <p:cNvPr id="7" name="TextBox 6">
              <a:extLst>
                <a:ext uri="{FF2B5EF4-FFF2-40B4-BE49-F238E27FC236}">
                  <a16:creationId xmlns:a16="http://schemas.microsoft.com/office/drawing/2014/main" id="{DC003E9A-DDBB-5581-737B-8C3E99B2A18A}"/>
                </a:ext>
              </a:extLst>
            </p:cNvPr>
            <p:cNvSpPr txBox="1"/>
            <p:nvPr/>
          </p:nvSpPr>
          <p:spPr>
            <a:xfrm>
              <a:off x="799142" y="1509908"/>
              <a:ext cx="3648225" cy="307777"/>
            </a:xfrm>
            <a:prstGeom prst="rect">
              <a:avLst/>
            </a:prstGeom>
            <a:noFill/>
          </p:spPr>
          <p:txBody>
            <a:bodyPr wrap="square" rtlCol="0">
              <a:spAutoFit/>
            </a:bodyPr>
            <a:lstStyle/>
            <a:p>
              <a:r>
                <a:rPr lang="en-US" sz="1400" b="1" dirty="0"/>
                <a:t>PRINCIPAUX OBSTACLES À L'ACCÈS</a:t>
              </a:r>
              <a:endParaRPr lang="en-GB" sz="1400" b="1" dirty="0"/>
            </a:p>
          </p:txBody>
        </p:sp>
        <p:grpSp>
          <p:nvGrpSpPr>
            <p:cNvPr id="54" name="Group 53">
              <a:extLst>
                <a:ext uri="{FF2B5EF4-FFF2-40B4-BE49-F238E27FC236}">
                  <a16:creationId xmlns:a16="http://schemas.microsoft.com/office/drawing/2014/main" id="{0E9DDC2A-9183-E136-6875-1CF5FD7747AE}"/>
                </a:ext>
              </a:extLst>
            </p:cNvPr>
            <p:cNvGrpSpPr/>
            <p:nvPr/>
          </p:nvGrpSpPr>
          <p:grpSpPr>
            <a:xfrm>
              <a:off x="1301675" y="1994859"/>
              <a:ext cx="9606580" cy="1112262"/>
              <a:chOff x="1381002" y="2160038"/>
              <a:chExt cx="11399081" cy="921157"/>
            </a:xfrm>
            <a:solidFill>
              <a:schemeClr val="bg1"/>
            </a:solidFill>
          </p:grpSpPr>
          <p:sp>
            <p:nvSpPr>
              <p:cNvPr id="49" name="Rounded Rectangle 48">
                <a:extLst>
                  <a:ext uri="{FF2B5EF4-FFF2-40B4-BE49-F238E27FC236}">
                    <a16:creationId xmlns:a16="http://schemas.microsoft.com/office/drawing/2014/main" id="{F9B8F8E4-19D3-8F20-EEF6-9602857FED7E}"/>
                  </a:ext>
                </a:extLst>
              </p:cNvPr>
              <p:cNvSpPr/>
              <p:nvPr/>
            </p:nvSpPr>
            <p:spPr>
              <a:xfrm>
                <a:off x="1381002" y="2160038"/>
                <a:ext cx="2370443" cy="921157"/>
              </a:xfrm>
              <a:prstGeom prst="roundRect">
                <a:avLst>
                  <a:gd name="adj" fmla="val 7324"/>
                </a:avLst>
              </a:prstGeom>
              <a:grp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50" name="Rounded Rectangle 49">
                <a:extLst>
                  <a:ext uri="{FF2B5EF4-FFF2-40B4-BE49-F238E27FC236}">
                    <a16:creationId xmlns:a16="http://schemas.microsoft.com/office/drawing/2014/main" id="{9EBE7C83-2A81-9443-2049-BD1FD61336E1}"/>
                  </a:ext>
                </a:extLst>
              </p:cNvPr>
              <p:cNvSpPr/>
              <p:nvPr/>
            </p:nvSpPr>
            <p:spPr>
              <a:xfrm>
                <a:off x="3799743" y="2160038"/>
                <a:ext cx="2233566" cy="921157"/>
              </a:xfrm>
              <a:prstGeom prst="roundRect">
                <a:avLst>
                  <a:gd name="adj" fmla="val 7324"/>
                </a:avLst>
              </a:prstGeom>
              <a:grp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51" name="Rounded Rectangle 50">
                <a:extLst>
                  <a:ext uri="{FF2B5EF4-FFF2-40B4-BE49-F238E27FC236}">
                    <a16:creationId xmlns:a16="http://schemas.microsoft.com/office/drawing/2014/main" id="{A7F64BFA-D5B5-DCF8-6524-36E82D438F34}"/>
                  </a:ext>
                </a:extLst>
              </p:cNvPr>
              <p:cNvSpPr/>
              <p:nvPr/>
            </p:nvSpPr>
            <p:spPr>
              <a:xfrm>
                <a:off x="6091123" y="2160038"/>
                <a:ext cx="1945600" cy="921157"/>
              </a:xfrm>
              <a:prstGeom prst="roundRect">
                <a:avLst>
                  <a:gd name="adj" fmla="val 7324"/>
                </a:avLst>
              </a:prstGeom>
              <a:grp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52" name="Rounded Rectangle 51">
                <a:extLst>
                  <a:ext uri="{FF2B5EF4-FFF2-40B4-BE49-F238E27FC236}">
                    <a16:creationId xmlns:a16="http://schemas.microsoft.com/office/drawing/2014/main" id="{F003F90C-50ED-707D-674E-97D672F08BF1}"/>
                  </a:ext>
                </a:extLst>
              </p:cNvPr>
              <p:cNvSpPr/>
              <p:nvPr/>
            </p:nvSpPr>
            <p:spPr>
              <a:xfrm>
                <a:off x="8092966" y="2160038"/>
                <a:ext cx="2028029" cy="921157"/>
              </a:xfrm>
              <a:prstGeom prst="roundRect">
                <a:avLst>
                  <a:gd name="adj" fmla="val 7324"/>
                </a:avLst>
              </a:prstGeom>
              <a:grp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53" name="Rounded Rectangle 52">
                <a:extLst>
                  <a:ext uri="{FF2B5EF4-FFF2-40B4-BE49-F238E27FC236}">
                    <a16:creationId xmlns:a16="http://schemas.microsoft.com/office/drawing/2014/main" id="{BCF3B596-813A-76B8-A3FB-153B22AABBBC}"/>
                  </a:ext>
                </a:extLst>
              </p:cNvPr>
              <p:cNvSpPr/>
              <p:nvPr/>
            </p:nvSpPr>
            <p:spPr>
              <a:xfrm>
                <a:off x="10192471" y="2160038"/>
                <a:ext cx="2587612" cy="921157"/>
              </a:xfrm>
              <a:prstGeom prst="roundRect">
                <a:avLst>
                  <a:gd name="adj" fmla="val 7324"/>
                </a:avLst>
              </a:prstGeom>
              <a:grp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grpSp>
        <p:grpSp>
          <p:nvGrpSpPr>
            <p:cNvPr id="79" name="Group 78">
              <a:extLst>
                <a:ext uri="{FF2B5EF4-FFF2-40B4-BE49-F238E27FC236}">
                  <a16:creationId xmlns:a16="http://schemas.microsoft.com/office/drawing/2014/main" id="{250906B2-0A50-D984-37A6-762A0A4B4980}"/>
                </a:ext>
              </a:extLst>
            </p:cNvPr>
            <p:cNvGrpSpPr/>
            <p:nvPr/>
          </p:nvGrpSpPr>
          <p:grpSpPr>
            <a:xfrm>
              <a:off x="2035026" y="3347785"/>
              <a:ext cx="8448650" cy="75919"/>
              <a:chOff x="2035026" y="3424783"/>
              <a:chExt cx="8448650" cy="75919"/>
            </a:xfrm>
          </p:grpSpPr>
          <p:grpSp>
            <p:nvGrpSpPr>
              <p:cNvPr id="78" name="Group 77">
                <a:extLst>
                  <a:ext uri="{FF2B5EF4-FFF2-40B4-BE49-F238E27FC236}">
                    <a16:creationId xmlns:a16="http://schemas.microsoft.com/office/drawing/2014/main" id="{CDEABF68-B1BB-BEE3-BB67-AD4663B4F25D}"/>
                  </a:ext>
                </a:extLst>
              </p:cNvPr>
              <p:cNvGrpSpPr/>
              <p:nvPr/>
            </p:nvGrpSpPr>
            <p:grpSpPr>
              <a:xfrm>
                <a:off x="2035026" y="3424783"/>
                <a:ext cx="3925128" cy="62608"/>
                <a:chOff x="2035026" y="3424783"/>
                <a:chExt cx="3925128" cy="62608"/>
              </a:xfrm>
            </p:grpSpPr>
            <p:pic>
              <p:nvPicPr>
                <p:cNvPr id="14" name="Graphic 13">
                  <a:extLst>
                    <a:ext uri="{FF2B5EF4-FFF2-40B4-BE49-F238E27FC236}">
                      <a16:creationId xmlns:a16="http://schemas.microsoft.com/office/drawing/2014/main" id="{F0E8D1A8-C9D8-CDEB-5776-84B5656AE2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2035026" y="3424783"/>
                  <a:ext cx="78567" cy="62608"/>
                </a:xfrm>
                <a:prstGeom prst="rect">
                  <a:avLst/>
                </a:prstGeom>
              </p:spPr>
            </p:pic>
            <p:pic>
              <p:nvPicPr>
                <p:cNvPr id="20" name="Graphic 19">
                  <a:extLst>
                    <a:ext uri="{FF2B5EF4-FFF2-40B4-BE49-F238E27FC236}">
                      <a16:creationId xmlns:a16="http://schemas.microsoft.com/office/drawing/2014/main" id="{8BD87A73-98EF-3B02-1BD2-2E17AC17261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1587" y="3424783"/>
                  <a:ext cx="78567" cy="62608"/>
                </a:xfrm>
                <a:prstGeom prst="rect">
                  <a:avLst/>
                </a:prstGeom>
              </p:spPr>
            </p:pic>
          </p:grpSp>
          <p:grpSp>
            <p:nvGrpSpPr>
              <p:cNvPr id="77" name="Group 76">
                <a:extLst>
                  <a:ext uri="{FF2B5EF4-FFF2-40B4-BE49-F238E27FC236}">
                    <a16:creationId xmlns:a16="http://schemas.microsoft.com/office/drawing/2014/main" id="{1B8BC8C3-654A-FD5D-0B54-87A10977CE28}"/>
                  </a:ext>
                </a:extLst>
              </p:cNvPr>
              <p:cNvGrpSpPr/>
              <p:nvPr/>
            </p:nvGrpSpPr>
            <p:grpSpPr>
              <a:xfrm>
                <a:off x="6159765" y="3424783"/>
                <a:ext cx="4323911" cy="75919"/>
                <a:chOff x="6159765" y="3424783"/>
                <a:chExt cx="4323911" cy="75919"/>
              </a:xfrm>
            </p:grpSpPr>
            <p:pic>
              <p:nvPicPr>
                <p:cNvPr id="33" name="Graphic 32">
                  <a:extLst>
                    <a:ext uri="{FF2B5EF4-FFF2-40B4-BE49-F238E27FC236}">
                      <a16:creationId xmlns:a16="http://schemas.microsoft.com/office/drawing/2014/main" id="{88110265-B3E8-E8E1-63C6-0E75E717AF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05109" y="3424783"/>
                  <a:ext cx="78567" cy="62608"/>
                </a:xfrm>
                <a:prstGeom prst="rect">
                  <a:avLst/>
                </a:prstGeom>
              </p:spPr>
            </p:pic>
            <p:pic>
              <p:nvPicPr>
                <p:cNvPr id="29" name="Graphic 28">
                  <a:extLst>
                    <a:ext uri="{FF2B5EF4-FFF2-40B4-BE49-F238E27FC236}">
                      <a16:creationId xmlns:a16="http://schemas.microsoft.com/office/drawing/2014/main" id="{2FBF179B-FB09-2D84-6844-EE39239B1F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6159765" y="3438094"/>
                  <a:ext cx="78567" cy="62608"/>
                </a:xfrm>
                <a:prstGeom prst="rect">
                  <a:avLst/>
                </a:prstGeom>
              </p:spPr>
            </p:pic>
          </p:grpSp>
        </p:grpSp>
        <p:grpSp>
          <p:nvGrpSpPr>
            <p:cNvPr id="70" name="Group 69">
              <a:extLst>
                <a:ext uri="{FF2B5EF4-FFF2-40B4-BE49-F238E27FC236}">
                  <a16:creationId xmlns:a16="http://schemas.microsoft.com/office/drawing/2014/main" id="{23985555-E5D1-C55D-AF1B-869DF6439E21}"/>
                </a:ext>
              </a:extLst>
            </p:cNvPr>
            <p:cNvGrpSpPr/>
            <p:nvPr/>
          </p:nvGrpSpPr>
          <p:grpSpPr>
            <a:xfrm>
              <a:off x="671201" y="2098569"/>
              <a:ext cx="812287" cy="812287"/>
              <a:chOff x="633552" y="2366171"/>
              <a:chExt cx="812287" cy="812287"/>
            </a:xfrm>
          </p:grpSpPr>
          <p:grpSp>
            <p:nvGrpSpPr>
              <p:cNvPr id="57" name="Group 56">
                <a:extLst>
                  <a:ext uri="{FF2B5EF4-FFF2-40B4-BE49-F238E27FC236}">
                    <a16:creationId xmlns:a16="http://schemas.microsoft.com/office/drawing/2014/main" id="{D08E09F4-C9CE-0ADF-BBBD-44561193D271}"/>
                  </a:ext>
                </a:extLst>
              </p:cNvPr>
              <p:cNvGrpSpPr/>
              <p:nvPr/>
            </p:nvGrpSpPr>
            <p:grpSpPr>
              <a:xfrm>
                <a:off x="633552" y="2366171"/>
                <a:ext cx="812287" cy="812287"/>
                <a:chOff x="476486" y="2366171"/>
                <a:chExt cx="969354" cy="969354"/>
              </a:xfrm>
            </p:grpSpPr>
            <p:sp>
              <p:nvSpPr>
                <p:cNvPr id="55" name="Oval 54">
                  <a:extLst>
                    <a:ext uri="{FF2B5EF4-FFF2-40B4-BE49-F238E27FC236}">
                      <a16:creationId xmlns:a16="http://schemas.microsoft.com/office/drawing/2014/main" id="{F7B475D5-A6AE-7B84-ABDB-B565D79E64D9}"/>
                    </a:ext>
                  </a:extLst>
                </p:cNvPr>
                <p:cNvSpPr/>
                <p:nvPr/>
              </p:nvSpPr>
              <p:spPr>
                <a:xfrm>
                  <a:off x="476486" y="2366171"/>
                  <a:ext cx="969354" cy="969354"/>
                </a:xfrm>
                <a:prstGeom prst="ellipse">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56" name="Oval 55">
                  <a:extLst>
                    <a:ext uri="{FF2B5EF4-FFF2-40B4-BE49-F238E27FC236}">
                      <a16:creationId xmlns:a16="http://schemas.microsoft.com/office/drawing/2014/main" id="{DD513DC1-3480-041E-B87A-8570A78B3238}"/>
                    </a:ext>
                  </a:extLst>
                </p:cNvPr>
                <p:cNvSpPr/>
                <p:nvPr/>
              </p:nvSpPr>
              <p:spPr>
                <a:xfrm>
                  <a:off x="548371" y="2425686"/>
                  <a:ext cx="825585" cy="850324"/>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grpSp>
          <p:pic>
            <p:nvPicPr>
              <p:cNvPr id="61" name="Graphic 60">
                <a:extLst>
                  <a:ext uri="{FF2B5EF4-FFF2-40B4-BE49-F238E27FC236}">
                    <a16:creationId xmlns:a16="http://schemas.microsoft.com/office/drawing/2014/main" id="{0AD78469-A7A6-B803-44F5-28A124FC5B6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3372" y="2585991"/>
                <a:ext cx="372646" cy="372646"/>
              </a:xfrm>
              <a:prstGeom prst="rect">
                <a:avLst/>
              </a:prstGeom>
            </p:spPr>
          </p:pic>
        </p:grpSp>
        <p:grpSp>
          <p:nvGrpSpPr>
            <p:cNvPr id="65" name="Group 64">
              <a:extLst>
                <a:ext uri="{FF2B5EF4-FFF2-40B4-BE49-F238E27FC236}">
                  <a16:creationId xmlns:a16="http://schemas.microsoft.com/office/drawing/2014/main" id="{35D470E6-03FB-8541-22B7-A0CB0653F742}"/>
                </a:ext>
              </a:extLst>
            </p:cNvPr>
            <p:cNvGrpSpPr/>
            <p:nvPr/>
          </p:nvGrpSpPr>
          <p:grpSpPr>
            <a:xfrm>
              <a:off x="10672382" y="2098569"/>
              <a:ext cx="812287" cy="812287"/>
              <a:chOff x="8382705" y="2366171"/>
              <a:chExt cx="812287" cy="812287"/>
            </a:xfrm>
          </p:grpSpPr>
          <p:grpSp>
            <p:nvGrpSpPr>
              <p:cNvPr id="62" name="Group 61">
                <a:extLst>
                  <a:ext uri="{FF2B5EF4-FFF2-40B4-BE49-F238E27FC236}">
                    <a16:creationId xmlns:a16="http://schemas.microsoft.com/office/drawing/2014/main" id="{9B920A08-45D9-0B19-3099-C5091B4F5BDE}"/>
                  </a:ext>
                </a:extLst>
              </p:cNvPr>
              <p:cNvGrpSpPr/>
              <p:nvPr/>
            </p:nvGrpSpPr>
            <p:grpSpPr>
              <a:xfrm>
                <a:off x="8382705" y="2366171"/>
                <a:ext cx="812287" cy="812287"/>
                <a:chOff x="476486" y="2366171"/>
                <a:chExt cx="969354" cy="969354"/>
              </a:xfrm>
            </p:grpSpPr>
            <p:sp>
              <p:nvSpPr>
                <p:cNvPr id="63" name="Oval 62">
                  <a:extLst>
                    <a:ext uri="{FF2B5EF4-FFF2-40B4-BE49-F238E27FC236}">
                      <a16:creationId xmlns:a16="http://schemas.microsoft.com/office/drawing/2014/main" id="{AA7C4B2B-32EC-F961-5B42-05D8C21200FF}"/>
                    </a:ext>
                  </a:extLst>
                </p:cNvPr>
                <p:cNvSpPr/>
                <p:nvPr/>
              </p:nvSpPr>
              <p:spPr>
                <a:xfrm>
                  <a:off x="476486" y="2366171"/>
                  <a:ext cx="969354" cy="969354"/>
                </a:xfrm>
                <a:prstGeom prst="ellipse">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64" name="Oval 63">
                  <a:extLst>
                    <a:ext uri="{FF2B5EF4-FFF2-40B4-BE49-F238E27FC236}">
                      <a16:creationId xmlns:a16="http://schemas.microsoft.com/office/drawing/2014/main" id="{436C1B76-1970-3850-0DA8-32DB09E2C322}"/>
                    </a:ext>
                  </a:extLst>
                </p:cNvPr>
                <p:cNvSpPr/>
                <p:nvPr/>
              </p:nvSpPr>
              <p:spPr>
                <a:xfrm>
                  <a:off x="548371" y="2425686"/>
                  <a:ext cx="825585" cy="850324"/>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grpSp>
          <p:pic>
            <p:nvPicPr>
              <p:cNvPr id="59" name="Graphic 58">
                <a:extLst>
                  <a:ext uri="{FF2B5EF4-FFF2-40B4-BE49-F238E27FC236}">
                    <a16:creationId xmlns:a16="http://schemas.microsoft.com/office/drawing/2014/main" id="{96341F09-B051-0958-2608-ACF04FAD2A0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23152" y="2572350"/>
                <a:ext cx="372646" cy="372646"/>
              </a:xfrm>
              <a:prstGeom prst="rect">
                <a:avLst/>
              </a:prstGeom>
            </p:spPr>
          </p:pic>
        </p:grpSp>
      </p:grpSp>
      <p:sp>
        <p:nvSpPr>
          <p:cNvPr id="3" name="TextBox 2">
            <a:extLst>
              <a:ext uri="{FF2B5EF4-FFF2-40B4-BE49-F238E27FC236}">
                <a16:creationId xmlns:a16="http://schemas.microsoft.com/office/drawing/2014/main" id="{D7636FEF-E49B-6F04-78D3-5FED1FC26727}"/>
              </a:ext>
            </a:extLst>
          </p:cNvPr>
          <p:cNvSpPr txBox="1"/>
          <p:nvPr/>
        </p:nvSpPr>
        <p:spPr>
          <a:xfrm>
            <a:off x="3562732" y="2549129"/>
            <a:ext cx="1530998" cy="1015663"/>
          </a:xfrm>
          <a:prstGeom prst="rect">
            <a:avLst/>
          </a:prstGeom>
          <a:noFill/>
        </p:spPr>
        <p:txBody>
          <a:bodyPr wrap="square">
            <a:spAutoFit/>
          </a:body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Manque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d'intérêt</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des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fournisseurs</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a:t>
            </a:r>
            <a:b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b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pour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commercialiser</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des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antibiotiques</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a:t>
            </a:r>
          </a:p>
        </p:txBody>
      </p:sp>
      <p:sp>
        <p:nvSpPr>
          <p:cNvPr id="4" name="TextBox 3">
            <a:extLst>
              <a:ext uri="{FF2B5EF4-FFF2-40B4-BE49-F238E27FC236}">
                <a16:creationId xmlns:a16="http://schemas.microsoft.com/office/drawing/2014/main" id="{89F8BDC6-8970-8DD8-DD3B-6B4C73CE85C6}"/>
              </a:ext>
            </a:extLst>
          </p:cNvPr>
          <p:cNvSpPr txBox="1"/>
          <p:nvPr/>
        </p:nvSpPr>
        <p:spPr>
          <a:xfrm>
            <a:off x="5413750" y="2568033"/>
            <a:ext cx="1184251" cy="646331"/>
          </a:xfrm>
          <a:prstGeom prst="rect">
            <a:avLst/>
          </a:prstGeom>
          <a:noFill/>
        </p:spPr>
        <p:txBody>
          <a:bodyPr wrap="square">
            <a:spAutoFit/>
          </a:body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Absence d'enregistrement dans les PRFI</a:t>
            </a:r>
          </a:p>
        </p:txBody>
      </p:sp>
      <p:sp>
        <p:nvSpPr>
          <p:cNvPr id="9" name="TextBox 8">
            <a:extLst>
              <a:ext uri="{FF2B5EF4-FFF2-40B4-BE49-F238E27FC236}">
                <a16:creationId xmlns:a16="http://schemas.microsoft.com/office/drawing/2014/main" id="{0A3DF063-2358-1FAF-CD66-4D9B00745490}"/>
              </a:ext>
            </a:extLst>
          </p:cNvPr>
          <p:cNvSpPr txBox="1"/>
          <p:nvPr/>
        </p:nvSpPr>
        <p:spPr>
          <a:xfrm>
            <a:off x="7087145" y="2676200"/>
            <a:ext cx="1506450" cy="646331"/>
          </a:xfrm>
          <a:prstGeom prst="rect">
            <a:avLst/>
          </a:prstGeom>
          <a:noFill/>
        </p:spPr>
        <p:txBody>
          <a:bodyPr wrap="square">
            <a:spAutoFit/>
          </a:body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Prix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inabordable</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des nouveaux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antibiotiques</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a:t>
            </a:r>
          </a:p>
        </p:txBody>
      </p:sp>
      <p:sp>
        <p:nvSpPr>
          <p:cNvPr id="10" name="TextBox 9">
            <a:extLst>
              <a:ext uri="{FF2B5EF4-FFF2-40B4-BE49-F238E27FC236}">
                <a16:creationId xmlns:a16="http://schemas.microsoft.com/office/drawing/2014/main" id="{11F76E7C-DA4F-7A0D-603E-7EE603DC4E51}"/>
              </a:ext>
            </a:extLst>
          </p:cNvPr>
          <p:cNvSpPr txBox="1"/>
          <p:nvPr/>
        </p:nvSpPr>
        <p:spPr>
          <a:xfrm>
            <a:off x="1499249" y="2415922"/>
            <a:ext cx="1746324" cy="1200329"/>
          </a:xfrm>
          <a:prstGeom prst="rect">
            <a:avLst/>
          </a:prstGeom>
          <a:noFill/>
        </p:spPr>
        <p:txBody>
          <a:bodyPr wrap="square">
            <a:spAutoFit/>
          </a:body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Manque de données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appropriées</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pour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éclairer</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l'utilisation</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optimale</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des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traitements</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a:t>
            </a:r>
            <a:r>
              <a:rPr kumimoji="0" lang="en-US" sz="1200" b="1" i="0" u="none" strike="noStrike" kern="1200" cap="none" spc="0" normalizeH="0" baseline="0" noProof="0" dirty="0" err="1">
                <a:ln>
                  <a:noFill/>
                </a:ln>
                <a:solidFill>
                  <a:schemeClr val="tx2"/>
                </a:solidFill>
                <a:effectLst/>
                <a:uLnTx/>
                <a:uFillTx/>
                <a:latin typeface="Arial" panose="020B0604020202020204"/>
                <a:ea typeface="+mn-ea"/>
                <a:cs typeface="+mn-cs"/>
              </a:rPr>
              <a:t>antibiotiques</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 </a:t>
            </a:r>
          </a:p>
        </p:txBody>
      </p:sp>
      <p:sp>
        <p:nvSpPr>
          <p:cNvPr id="15" name="TextBox 14">
            <a:extLst>
              <a:ext uri="{FF2B5EF4-FFF2-40B4-BE49-F238E27FC236}">
                <a16:creationId xmlns:a16="http://schemas.microsoft.com/office/drawing/2014/main" id="{BFBEC7BF-413A-3BED-3A2A-9D61C58900FC}"/>
              </a:ext>
            </a:extLst>
          </p:cNvPr>
          <p:cNvSpPr txBox="1"/>
          <p:nvPr/>
        </p:nvSpPr>
        <p:spPr>
          <a:xfrm>
            <a:off x="8903024" y="2440746"/>
            <a:ext cx="1851570" cy="1015663"/>
          </a:xfrm>
          <a:prstGeom prst="rect">
            <a:avLst/>
          </a:prstGeom>
          <a:noFill/>
        </p:spPr>
        <p:txBody>
          <a:bodyPr wrap="square">
            <a:spAutoFit/>
          </a:body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Systèmes d'adoption </a:t>
            </a:r>
            <a:r>
              <a:rPr lang="en-CH" sz="1200" b="1" dirty="0">
                <a:solidFill>
                  <a:schemeClr val="tx2"/>
                </a:solidFill>
                <a:latin typeface="Arial" panose="020B0604020202020204"/>
              </a:rPr>
              <a:t>inadéquats </a:t>
            </a:r>
            <a:r>
              <a:rPr kumimoji="0" lang="en-CH" sz="1200" b="1" i="0" u="none" strike="noStrike" kern="1200" cap="none" spc="0" normalizeH="0" baseline="0" noProof="0" dirty="0">
                <a:ln>
                  <a:noFill/>
                </a:ln>
                <a:solidFill>
                  <a:schemeClr val="tx2"/>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mn-cs"/>
              </a:rPr>
              <a:t>gestion insuffisante et absence de diagnostics adéquats et opportuns</a:t>
            </a:r>
          </a:p>
        </p:txBody>
      </p:sp>
    </p:spTree>
    <p:extLst>
      <p:ext uri="{BB962C8B-B14F-4D97-AF65-F5344CB8AC3E}">
        <p14:creationId xmlns:p14="http://schemas.microsoft.com/office/powerpoint/2010/main" val="20787657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E88216-362A-4313-8715-B96BC051FC2E}"/>
              </a:ext>
            </a:extLst>
          </p:cNvPr>
          <p:cNvSpPr>
            <a:spLocks noGrp="1"/>
          </p:cNvSpPr>
          <p:nvPr>
            <p:ph type="title"/>
          </p:nvPr>
        </p:nvSpPr>
        <p:spPr/>
        <p:txBody>
          <a:bodyPr/>
          <a:lstStyle/>
          <a:p>
            <a:r>
              <a:rPr lang="en-CH">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3216530068"/>
      </p:ext>
    </p:extLst>
  </p:cSld>
  <p:clrMapOvr>
    <a:masterClrMapping/>
  </p:clrMapOvr>
  <mc:AlternateContent xmlns:mc="http://schemas.openxmlformats.org/markup-compatibility/2006" xmlns:p14="http://schemas.microsoft.com/office/powerpoint/2010/main">
    <mc:Choice Requires="p14">
      <p:transition spd="slow" p14:dur="2000" advTm="9171"/>
    </mc:Choice>
    <mc:Fallback xmlns="">
      <p:transition spd="slow" advTm="9171"/>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BD6022-7605-7418-4C4D-89AEBB43EB25}"/>
              </a:ext>
            </a:extLst>
          </p:cNvPr>
          <p:cNvSpPr>
            <a:spLocks noGrp="1"/>
          </p:cNvSpPr>
          <p:nvPr>
            <p:ph type="ctrTitle"/>
          </p:nvPr>
        </p:nvSpPr>
        <p:spPr/>
        <p:txBody>
          <a:bodyPr>
            <a:normAutofit fontScale="90000"/>
          </a:bodyPr>
          <a:lstStyle/>
          <a:p>
            <a:r>
              <a:rPr lang="en-CH" dirty="0"/>
              <a:t>Comment améliorer l'accès aux nouveaux antibiotiques ou aux antibiotiques de réserve ?</a:t>
            </a:r>
            <a:endParaRPr lang="en-US" dirty="0"/>
          </a:p>
        </p:txBody>
      </p:sp>
      <p:sp>
        <p:nvSpPr>
          <p:cNvPr id="3" name="Subtitle 2">
            <a:extLst>
              <a:ext uri="{FF2B5EF4-FFF2-40B4-BE49-F238E27FC236}">
                <a16:creationId xmlns:a16="http://schemas.microsoft.com/office/drawing/2014/main" id="{11343981-EC2F-704B-0BC4-9B23BC4747B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904662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D05990B-EF77-8703-1327-C533166D1C27}"/>
              </a:ext>
            </a:extLst>
          </p:cNvPr>
          <p:cNvSpPr txBox="1">
            <a:spLocks/>
          </p:cNvSpPr>
          <p:nvPr/>
        </p:nvSpPr>
        <p:spPr>
          <a:xfrm>
            <a:off x="128788" y="198147"/>
            <a:ext cx="11631328" cy="969963"/>
          </a:xfrm>
          <a:prstGeom prst="rect">
            <a:avLst/>
          </a:prstGeom>
        </p:spPr>
        <p:txBody>
          <a:bodyPr/>
          <a:lstStyle>
            <a:lvl1pPr algn="l" defTabSz="914377" rtl="0" eaLnBrk="1" latinLnBrk="0" hangingPunct="1">
              <a:lnSpc>
                <a:spcPct val="90000"/>
              </a:lnSpc>
              <a:spcBef>
                <a:spcPct val="0"/>
              </a:spcBef>
              <a:buNone/>
              <a:defRPr sz="3500" b="1" kern="1200">
                <a:solidFill>
                  <a:srgbClr val="0D1F2F"/>
                </a:solidFill>
                <a:latin typeface="Arial" panose="020B0604020202020204" pitchFamily="34" charset="0"/>
                <a:ea typeface="+mj-ea"/>
                <a:cs typeface="Arial" panose="020B0604020202020204" pitchFamily="34" charset="0"/>
              </a:defRPr>
            </a:lvl1pPr>
          </a:lstStyle>
          <a:p>
            <a:r>
              <a:rPr lang="en-US" sz="3200" dirty="0"/>
              <a:t>“Push funding” and “Pull incentives” sont nécessaires, mais insuffisants pour permettre l'accès aux antibiotiques</a:t>
            </a:r>
          </a:p>
        </p:txBody>
      </p:sp>
      <p:sp>
        <p:nvSpPr>
          <p:cNvPr id="4" name="TextBox 3">
            <a:extLst>
              <a:ext uri="{FF2B5EF4-FFF2-40B4-BE49-F238E27FC236}">
                <a16:creationId xmlns:a16="http://schemas.microsoft.com/office/drawing/2014/main" id="{DEA27149-97FB-3F8B-ABFC-9871E7BBBF21}"/>
              </a:ext>
            </a:extLst>
          </p:cNvPr>
          <p:cNvSpPr txBox="1"/>
          <p:nvPr/>
        </p:nvSpPr>
        <p:spPr>
          <a:xfrm>
            <a:off x="540241" y="4704884"/>
            <a:ext cx="11219875" cy="2308324"/>
          </a:xfrm>
          <a:prstGeom prst="rect">
            <a:avLst/>
          </a:prstGeom>
          <a:noFill/>
        </p:spPr>
        <p:txBody>
          <a:bodyPr wrap="square" rtlCol="0">
            <a:spAutoFit/>
          </a:bodyPr>
          <a:lstStyle/>
          <a:p>
            <a:r>
              <a:rPr lang="en-CH" sz="2400" dirty="0"/>
              <a:t>Conditions d'accès «push» et «pull» :</a:t>
            </a:r>
          </a:p>
          <a:p>
            <a:r>
              <a:rPr lang="en-CH" sz="2400" dirty="0"/>
              <a:t>Répondre aux besoins mondiaux </a:t>
            </a:r>
            <a:r>
              <a:rPr lang="en-US" sz="2400" dirty="0"/>
              <a:t>en matière de santé </a:t>
            </a:r>
            <a:r>
              <a:rPr lang="en-CH" sz="2400" dirty="0"/>
              <a:t>(par exemple, liste des agents pathogènes prioritaires de l'OMS)</a:t>
            </a:r>
          </a:p>
          <a:p>
            <a:r>
              <a:rPr lang="en-CH" sz="2400" dirty="0"/>
              <a:t>Plans de gestion</a:t>
            </a:r>
          </a:p>
          <a:p>
            <a:r>
              <a:rPr lang="en-CH" sz="2400" dirty="0"/>
              <a:t>Stratégie d'accès, de réglementation et/ou d'octroi de licences</a:t>
            </a:r>
          </a:p>
          <a:p>
            <a:endParaRPr lang="en-US" sz="2400" dirty="0"/>
          </a:p>
        </p:txBody>
      </p:sp>
      <p:grpSp>
        <p:nvGrpSpPr>
          <p:cNvPr id="6" name="Group 5">
            <a:extLst>
              <a:ext uri="{FF2B5EF4-FFF2-40B4-BE49-F238E27FC236}">
                <a16:creationId xmlns:a16="http://schemas.microsoft.com/office/drawing/2014/main" id="{723BB52D-6F8A-0895-51A2-D508A884830B}"/>
              </a:ext>
            </a:extLst>
          </p:cNvPr>
          <p:cNvGrpSpPr/>
          <p:nvPr/>
        </p:nvGrpSpPr>
        <p:grpSpPr>
          <a:xfrm>
            <a:off x="287077" y="2117404"/>
            <a:ext cx="1645920" cy="1645920"/>
            <a:chOff x="1890" y="1870062"/>
            <a:chExt cx="2506126" cy="2506126"/>
          </a:xfrm>
        </p:grpSpPr>
        <p:sp>
          <p:nvSpPr>
            <p:cNvPr id="19" name="Oval 18">
              <a:extLst>
                <a:ext uri="{FF2B5EF4-FFF2-40B4-BE49-F238E27FC236}">
                  <a16:creationId xmlns:a16="http://schemas.microsoft.com/office/drawing/2014/main" id="{83461436-9C65-84FE-EEB9-62B57700763C}"/>
                </a:ext>
              </a:extLst>
            </p:cNvPr>
            <p:cNvSpPr/>
            <p:nvPr/>
          </p:nvSpPr>
          <p:spPr>
            <a:xfrm>
              <a:off x="1890" y="1870062"/>
              <a:ext cx="2506126" cy="250612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sz="1500" b="1"/>
            </a:p>
          </p:txBody>
        </p:sp>
        <p:sp>
          <p:nvSpPr>
            <p:cNvPr id="20" name="Oval 4">
              <a:extLst>
                <a:ext uri="{FF2B5EF4-FFF2-40B4-BE49-F238E27FC236}">
                  <a16:creationId xmlns:a16="http://schemas.microsoft.com/office/drawing/2014/main" id="{310DF19D-5F64-00CC-78C4-8B8A6BE9B518}"/>
                </a:ext>
              </a:extLst>
            </p:cNvPr>
            <p:cNvSpPr txBox="1"/>
            <p:nvPr/>
          </p:nvSpPr>
          <p:spPr>
            <a:xfrm>
              <a:off x="368904" y="2237076"/>
              <a:ext cx="1772098" cy="1772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s-ES" sz="1600" b="1" kern="1200" dirty="0"/>
                <a:t>“</a:t>
              </a:r>
              <a:r>
                <a:rPr lang="es-ES" sz="1600" b="1" kern="1200" dirty="0" err="1"/>
                <a:t>Push</a:t>
              </a:r>
              <a:r>
                <a:rPr lang="es-ES" sz="1600" b="1" kern="1200" dirty="0"/>
                <a:t> </a:t>
              </a:r>
              <a:r>
                <a:rPr lang="es-ES" sz="1600" b="1" kern="1200" dirty="0" err="1"/>
                <a:t>funding</a:t>
              </a:r>
              <a:r>
                <a:rPr lang="es-ES" sz="1600" b="1" kern="1200" dirty="0"/>
                <a:t>”</a:t>
              </a:r>
              <a:endParaRPr lang="en-US" sz="1600" b="1" kern="1200" dirty="0"/>
            </a:p>
          </p:txBody>
        </p:sp>
      </p:grpSp>
      <p:grpSp>
        <p:nvGrpSpPr>
          <p:cNvPr id="7" name="Group 6">
            <a:extLst>
              <a:ext uri="{FF2B5EF4-FFF2-40B4-BE49-F238E27FC236}">
                <a16:creationId xmlns:a16="http://schemas.microsoft.com/office/drawing/2014/main" id="{CB412CCB-4CDA-D0A9-9900-12D36C892534}"/>
              </a:ext>
            </a:extLst>
          </p:cNvPr>
          <p:cNvGrpSpPr/>
          <p:nvPr/>
        </p:nvGrpSpPr>
        <p:grpSpPr>
          <a:xfrm>
            <a:off x="2079739" y="2213588"/>
            <a:ext cx="1453553" cy="1453553"/>
            <a:chOff x="2711514" y="2396349"/>
            <a:chExt cx="1453553" cy="1453553"/>
          </a:xfrm>
        </p:grpSpPr>
        <p:sp>
          <p:nvSpPr>
            <p:cNvPr id="17" name="Plus Sign 16">
              <a:extLst>
                <a:ext uri="{FF2B5EF4-FFF2-40B4-BE49-F238E27FC236}">
                  <a16:creationId xmlns:a16="http://schemas.microsoft.com/office/drawing/2014/main" id="{B0331E31-153A-8DF3-FD72-17C510DFAEE9}"/>
                </a:ext>
              </a:extLst>
            </p:cNvPr>
            <p:cNvSpPr/>
            <p:nvPr/>
          </p:nvSpPr>
          <p:spPr>
            <a:xfrm>
              <a:off x="2711514" y="2396349"/>
              <a:ext cx="1453553" cy="1453553"/>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GB"/>
            </a:p>
          </p:txBody>
        </p:sp>
        <p:sp>
          <p:nvSpPr>
            <p:cNvPr id="18" name="Plus Sign 6">
              <a:extLst>
                <a:ext uri="{FF2B5EF4-FFF2-40B4-BE49-F238E27FC236}">
                  <a16:creationId xmlns:a16="http://schemas.microsoft.com/office/drawing/2014/main" id="{AE5C1C24-FC05-9FE4-A2F7-371B735B1B60}"/>
                </a:ext>
              </a:extLst>
            </p:cNvPr>
            <p:cNvSpPr txBox="1"/>
            <p:nvPr/>
          </p:nvSpPr>
          <p:spPr>
            <a:xfrm>
              <a:off x="2904182" y="2952188"/>
              <a:ext cx="1068217" cy="34187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p:txBody>
        </p:sp>
      </p:grpSp>
      <p:grpSp>
        <p:nvGrpSpPr>
          <p:cNvPr id="8" name="Group 7">
            <a:extLst>
              <a:ext uri="{FF2B5EF4-FFF2-40B4-BE49-F238E27FC236}">
                <a16:creationId xmlns:a16="http://schemas.microsoft.com/office/drawing/2014/main" id="{77487D0C-364E-7FAD-37C2-92434473B315}"/>
              </a:ext>
            </a:extLst>
          </p:cNvPr>
          <p:cNvGrpSpPr/>
          <p:nvPr/>
        </p:nvGrpSpPr>
        <p:grpSpPr>
          <a:xfrm>
            <a:off x="3680034" y="2117404"/>
            <a:ext cx="1645920" cy="1645920"/>
            <a:chOff x="4368564" y="1870062"/>
            <a:chExt cx="2506126" cy="2506126"/>
          </a:xfrm>
        </p:grpSpPr>
        <p:sp>
          <p:nvSpPr>
            <p:cNvPr id="15" name="Oval 14">
              <a:extLst>
                <a:ext uri="{FF2B5EF4-FFF2-40B4-BE49-F238E27FC236}">
                  <a16:creationId xmlns:a16="http://schemas.microsoft.com/office/drawing/2014/main" id="{F00A8B95-EA90-E649-AAC9-B7D0E812B0D9}"/>
                </a:ext>
              </a:extLst>
            </p:cNvPr>
            <p:cNvSpPr/>
            <p:nvPr/>
          </p:nvSpPr>
          <p:spPr>
            <a:xfrm>
              <a:off x="4368564" y="1870062"/>
              <a:ext cx="2506126" cy="250612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sz="1500" b="1"/>
            </a:p>
          </p:txBody>
        </p:sp>
        <p:sp>
          <p:nvSpPr>
            <p:cNvPr id="16" name="Oval 8">
              <a:extLst>
                <a:ext uri="{FF2B5EF4-FFF2-40B4-BE49-F238E27FC236}">
                  <a16:creationId xmlns:a16="http://schemas.microsoft.com/office/drawing/2014/main" id="{BB9A43E3-6338-0F95-5523-CA0C66AFCF7B}"/>
                </a:ext>
              </a:extLst>
            </p:cNvPr>
            <p:cNvSpPr txBox="1"/>
            <p:nvPr/>
          </p:nvSpPr>
          <p:spPr>
            <a:xfrm>
              <a:off x="4735578" y="2237076"/>
              <a:ext cx="1772098" cy="1772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s-ES" sz="1600" b="1" kern="1200" dirty="0"/>
                <a:t>“</a:t>
              </a:r>
              <a:r>
                <a:rPr lang="es-ES" sz="1600" b="1" kern="1200" dirty="0" err="1"/>
                <a:t>Pull</a:t>
              </a:r>
              <a:r>
                <a:rPr lang="es-ES" sz="1600" b="1" kern="1200" dirty="0"/>
                <a:t> incentive”</a:t>
              </a:r>
              <a:endParaRPr lang="en-US" sz="1600" b="1" kern="1200" dirty="0"/>
            </a:p>
          </p:txBody>
        </p:sp>
      </p:grpSp>
      <p:grpSp>
        <p:nvGrpSpPr>
          <p:cNvPr id="10" name="Group 9">
            <a:extLst>
              <a:ext uri="{FF2B5EF4-FFF2-40B4-BE49-F238E27FC236}">
                <a16:creationId xmlns:a16="http://schemas.microsoft.com/office/drawing/2014/main" id="{D93046C3-A4BC-7861-EADF-AC9C08C3832F}"/>
              </a:ext>
            </a:extLst>
          </p:cNvPr>
          <p:cNvGrpSpPr/>
          <p:nvPr/>
        </p:nvGrpSpPr>
        <p:grpSpPr>
          <a:xfrm>
            <a:off x="10355236" y="2117404"/>
            <a:ext cx="1645920" cy="1645920"/>
            <a:chOff x="8735239" y="1870062"/>
            <a:chExt cx="2506126" cy="2506126"/>
          </a:xfrm>
        </p:grpSpPr>
        <p:sp>
          <p:nvSpPr>
            <p:cNvPr id="11" name="Oval 10">
              <a:extLst>
                <a:ext uri="{FF2B5EF4-FFF2-40B4-BE49-F238E27FC236}">
                  <a16:creationId xmlns:a16="http://schemas.microsoft.com/office/drawing/2014/main" id="{63D6E1DC-E77A-8FAD-9AAD-A4D70AE8E981}"/>
                </a:ext>
              </a:extLst>
            </p:cNvPr>
            <p:cNvSpPr/>
            <p:nvPr/>
          </p:nvSpPr>
          <p:spPr>
            <a:xfrm>
              <a:off x="8735239" y="1870062"/>
              <a:ext cx="2506126" cy="250612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sz="1500" b="1"/>
            </a:p>
          </p:txBody>
        </p:sp>
        <p:sp>
          <p:nvSpPr>
            <p:cNvPr id="12" name="Oval 12">
              <a:extLst>
                <a:ext uri="{FF2B5EF4-FFF2-40B4-BE49-F238E27FC236}">
                  <a16:creationId xmlns:a16="http://schemas.microsoft.com/office/drawing/2014/main" id="{AEDCF2BE-C370-9085-C69E-D23CC867AEE3}"/>
                </a:ext>
              </a:extLst>
            </p:cNvPr>
            <p:cNvSpPr txBox="1"/>
            <p:nvPr/>
          </p:nvSpPr>
          <p:spPr>
            <a:xfrm>
              <a:off x="9102253" y="2237076"/>
              <a:ext cx="1772098" cy="1772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CH" sz="1600" b="1" kern="1200" dirty="0"/>
                <a:t>Accès mondial durable</a:t>
              </a:r>
              <a:endParaRPr lang="en-US" sz="1600" b="1" kern="1200" dirty="0"/>
            </a:p>
          </p:txBody>
        </p:sp>
      </p:grpSp>
      <p:grpSp>
        <p:nvGrpSpPr>
          <p:cNvPr id="21" name="Group 20">
            <a:extLst>
              <a:ext uri="{FF2B5EF4-FFF2-40B4-BE49-F238E27FC236}">
                <a16:creationId xmlns:a16="http://schemas.microsoft.com/office/drawing/2014/main" id="{03FC8254-60AE-9B13-126A-62CE09C14AA7}"/>
              </a:ext>
            </a:extLst>
          </p:cNvPr>
          <p:cNvGrpSpPr/>
          <p:nvPr/>
        </p:nvGrpSpPr>
        <p:grpSpPr>
          <a:xfrm>
            <a:off x="5472696" y="2213588"/>
            <a:ext cx="1453553" cy="1453553"/>
            <a:chOff x="2711514" y="2396349"/>
            <a:chExt cx="1453553" cy="1453553"/>
          </a:xfrm>
        </p:grpSpPr>
        <p:sp>
          <p:nvSpPr>
            <p:cNvPr id="22" name="Plus Sign 21">
              <a:extLst>
                <a:ext uri="{FF2B5EF4-FFF2-40B4-BE49-F238E27FC236}">
                  <a16:creationId xmlns:a16="http://schemas.microsoft.com/office/drawing/2014/main" id="{98576A7B-34CA-9F91-A24B-37DADFDD7D87}"/>
                </a:ext>
              </a:extLst>
            </p:cNvPr>
            <p:cNvSpPr/>
            <p:nvPr/>
          </p:nvSpPr>
          <p:spPr>
            <a:xfrm>
              <a:off x="2711514" y="2396349"/>
              <a:ext cx="1453553" cy="1453553"/>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GB"/>
            </a:p>
          </p:txBody>
        </p:sp>
        <p:sp>
          <p:nvSpPr>
            <p:cNvPr id="23" name="Plus Sign 6">
              <a:extLst>
                <a:ext uri="{FF2B5EF4-FFF2-40B4-BE49-F238E27FC236}">
                  <a16:creationId xmlns:a16="http://schemas.microsoft.com/office/drawing/2014/main" id="{C59900A1-B2A2-523E-3001-F8BAAC9E448F}"/>
                </a:ext>
              </a:extLst>
            </p:cNvPr>
            <p:cNvSpPr txBox="1"/>
            <p:nvPr/>
          </p:nvSpPr>
          <p:spPr>
            <a:xfrm>
              <a:off x="2904182" y="2952188"/>
              <a:ext cx="1068217" cy="34187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p:txBody>
        </p:sp>
      </p:grpSp>
      <p:grpSp>
        <p:nvGrpSpPr>
          <p:cNvPr id="24" name="Group 23">
            <a:extLst>
              <a:ext uri="{FF2B5EF4-FFF2-40B4-BE49-F238E27FC236}">
                <a16:creationId xmlns:a16="http://schemas.microsoft.com/office/drawing/2014/main" id="{516480F6-E75E-4156-1AF4-B22237014C0B}"/>
              </a:ext>
            </a:extLst>
          </p:cNvPr>
          <p:cNvGrpSpPr/>
          <p:nvPr/>
        </p:nvGrpSpPr>
        <p:grpSpPr>
          <a:xfrm>
            <a:off x="7072991" y="2117404"/>
            <a:ext cx="1645920" cy="1645920"/>
            <a:chOff x="4368564" y="1870062"/>
            <a:chExt cx="2506126" cy="2506126"/>
          </a:xfrm>
        </p:grpSpPr>
        <p:sp>
          <p:nvSpPr>
            <p:cNvPr id="25" name="Oval 24">
              <a:extLst>
                <a:ext uri="{FF2B5EF4-FFF2-40B4-BE49-F238E27FC236}">
                  <a16:creationId xmlns:a16="http://schemas.microsoft.com/office/drawing/2014/main" id="{3E6A10CF-79CB-17E0-8FCB-D5CDA1FB57A0}"/>
                </a:ext>
              </a:extLst>
            </p:cNvPr>
            <p:cNvSpPr/>
            <p:nvPr/>
          </p:nvSpPr>
          <p:spPr>
            <a:xfrm>
              <a:off x="4368564" y="1870062"/>
              <a:ext cx="2506126" cy="250612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sz="1500" b="1"/>
            </a:p>
          </p:txBody>
        </p:sp>
        <p:sp>
          <p:nvSpPr>
            <p:cNvPr id="26" name="Oval 8">
              <a:extLst>
                <a:ext uri="{FF2B5EF4-FFF2-40B4-BE49-F238E27FC236}">
                  <a16:creationId xmlns:a16="http://schemas.microsoft.com/office/drawing/2014/main" id="{05C3FB2F-BBEF-DA9E-4C6E-A16CD4765D64}"/>
                </a:ext>
              </a:extLst>
            </p:cNvPr>
            <p:cNvSpPr txBox="1"/>
            <p:nvPr/>
          </p:nvSpPr>
          <p:spPr>
            <a:xfrm>
              <a:off x="4735578" y="2237076"/>
              <a:ext cx="1772098" cy="1772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1600" b="1" kern="1200" dirty="0"/>
                <a:t>??</a:t>
              </a:r>
            </a:p>
          </p:txBody>
        </p:sp>
      </p:grpSp>
      <p:sp>
        <p:nvSpPr>
          <p:cNvPr id="29" name="Plus Sign 6">
            <a:extLst>
              <a:ext uri="{FF2B5EF4-FFF2-40B4-BE49-F238E27FC236}">
                <a16:creationId xmlns:a16="http://schemas.microsoft.com/office/drawing/2014/main" id="{1CDE3B66-3795-48B8-ACF7-22E32720F8A1}"/>
              </a:ext>
            </a:extLst>
          </p:cNvPr>
          <p:cNvSpPr txBox="1"/>
          <p:nvPr/>
        </p:nvSpPr>
        <p:spPr>
          <a:xfrm>
            <a:off x="8771353" y="2755349"/>
            <a:ext cx="1068217" cy="34187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p:txBody>
      </p:sp>
      <p:sp>
        <p:nvSpPr>
          <p:cNvPr id="30" name="Equals 29">
            <a:extLst>
              <a:ext uri="{FF2B5EF4-FFF2-40B4-BE49-F238E27FC236}">
                <a16:creationId xmlns:a16="http://schemas.microsoft.com/office/drawing/2014/main" id="{CC9FA2D6-6A0A-A96C-B1CE-F76A7808D2C5}"/>
              </a:ext>
            </a:extLst>
          </p:cNvPr>
          <p:cNvSpPr/>
          <p:nvPr/>
        </p:nvSpPr>
        <p:spPr>
          <a:xfrm>
            <a:off x="8865653" y="2349814"/>
            <a:ext cx="1342844" cy="1181100"/>
          </a:xfrm>
          <a:prstGeom prst="mathEqual">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 name="TextBox 4">
            <a:extLst>
              <a:ext uri="{FF2B5EF4-FFF2-40B4-BE49-F238E27FC236}">
                <a16:creationId xmlns:a16="http://schemas.microsoft.com/office/drawing/2014/main" id="{1A363702-BD08-B8A3-6B1C-9E76D7005C8C}"/>
              </a:ext>
            </a:extLst>
          </p:cNvPr>
          <p:cNvSpPr txBox="1"/>
          <p:nvPr/>
        </p:nvSpPr>
        <p:spPr>
          <a:xfrm>
            <a:off x="3422103" y="3803487"/>
            <a:ext cx="7533764" cy="954107"/>
          </a:xfrm>
          <a:prstGeom prst="rect">
            <a:avLst/>
          </a:prstGeom>
          <a:noFill/>
        </p:spPr>
        <p:txBody>
          <a:bodyPr wrap="square">
            <a:spAutoFit/>
          </a:bodyPr>
          <a:lstStyle/>
          <a:p>
            <a:r>
              <a:rPr lang="en-US" sz="1400" b="0" i="0" dirty="0">
                <a:solidFill>
                  <a:schemeClr val="accent6">
                    <a:lumMod val="10000"/>
                  </a:schemeClr>
                </a:solidFill>
                <a:effectLst/>
                <a:latin typeface="Open Sans" panose="020B0606030504020204" pitchFamily="34" charset="0"/>
              </a:rPr>
              <a:t>Les </a:t>
            </a:r>
            <a:r>
              <a:rPr lang="en-US" sz="1400" b="0" i="0" dirty="0" err="1">
                <a:solidFill>
                  <a:schemeClr val="accent6">
                    <a:lumMod val="10000"/>
                  </a:schemeClr>
                </a:solidFill>
                <a:effectLst/>
                <a:latin typeface="Open Sans" panose="020B0606030504020204" pitchFamily="34" charset="0"/>
              </a:rPr>
              <a:t>incitations</a:t>
            </a:r>
            <a:r>
              <a:rPr lang="en-US" sz="1400" b="0" i="0" dirty="0">
                <a:solidFill>
                  <a:schemeClr val="accent6">
                    <a:lumMod val="10000"/>
                  </a:schemeClr>
                </a:solidFill>
                <a:effectLst/>
                <a:latin typeface="Open Sans" panose="020B0606030504020204" pitchFamily="34" charset="0"/>
              </a:rPr>
              <a:t> «pull» visent à récompenser les nouveaux antibiotiques dont la viabilité scientifique et la pertinence pour le marché ont été prouvées. Elles permettent de réduire le risque d'insuffisance des revenus futurs en utilisant des mécanismes garantissant la viabilité financière des développeurs.</a:t>
            </a:r>
            <a:endParaRPr lang="en-GB" sz="1400" dirty="0">
              <a:solidFill>
                <a:schemeClr val="accent6">
                  <a:lumMod val="10000"/>
                </a:schemeClr>
              </a:solidFill>
            </a:endParaRPr>
          </a:p>
        </p:txBody>
      </p:sp>
      <p:sp>
        <p:nvSpPr>
          <p:cNvPr id="27" name="TextBox 26">
            <a:extLst>
              <a:ext uri="{FF2B5EF4-FFF2-40B4-BE49-F238E27FC236}">
                <a16:creationId xmlns:a16="http://schemas.microsoft.com/office/drawing/2014/main" id="{2C2418B4-50F6-BBF3-412D-215F231777F7}"/>
              </a:ext>
            </a:extLst>
          </p:cNvPr>
          <p:cNvSpPr txBox="1"/>
          <p:nvPr/>
        </p:nvSpPr>
        <p:spPr>
          <a:xfrm>
            <a:off x="540241" y="1224010"/>
            <a:ext cx="7533764" cy="954107"/>
          </a:xfrm>
          <a:prstGeom prst="rect">
            <a:avLst/>
          </a:prstGeom>
          <a:noFill/>
        </p:spPr>
        <p:txBody>
          <a:bodyPr wrap="square">
            <a:spAutoFit/>
          </a:bodyPr>
          <a:lstStyle/>
          <a:p>
            <a:r>
              <a:rPr lang="en-US" sz="1400" dirty="0"/>
              <a:t>Les </a:t>
            </a:r>
            <a:r>
              <a:rPr lang="en-US" sz="1400" dirty="0" err="1"/>
              <a:t>incitations</a:t>
            </a:r>
            <a:r>
              <a:rPr lang="en-US" sz="1400" dirty="0"/>
              <a:t> «push» visent à soutenir l'innovation, la recherche et le développement de nouveaux antibiotiques, depuis les premières étapes de la recherche fondamentale jusqu'aux essais cliniques, indépendamment de leur succès commercial, en réduisant les coûts et les risques pour les développeurs grâce à des incitations financières, fiscales et techniques.</a:t>
            </a:r>
            <a:endParaRPr lang="en-GB" sz="1400" dirty="0"/>
          </a:p>
        </p:txBody>
      </p:sp>
    </p:spTree>
    <p:extLst>
      <p:ext uri="{BB962C8B-B14F-4D97-AF65-F5344CB8AC3E}">
        <p14:creationId xmlns:p14="http://schemas.microsoft.com/office/powerpoint/2010/main" val="2217880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02443-7B3A-3657-C1E1-DB20778053AC}"/>
              </a:ext>
            </a:extLst>
          </p:cNvPr>
          <p:cNvSpPr>
            <a:spLocks noGrp="1"/>
          </p:cNvSpPr>
          <p:nvPr>
            <p:ph type="title" idx="4294967295"/>
          </p:nvPr>
        </p:nvSpPr>
        <p:spPr>
          <a:xfrm>
            <a:off x="128788" y="198147"/>
            <a:ext cx="11913860" cy="969963"/>
          </a:xfrm>
          <a:prstGeom prst="rect">
            <a:avLst/>
          </a:prstGeom>
        </p:spPr>
        <p:txBody>
          <a:bodyPr/>
          <a:lstStyle/>
          <a:p>
            <a:r>
              <a:rPr lang="en-US" sz="3200" dirty="0">
                <a:solidFill>
                  <a:schemeClr val="tx1"/>
                </a:solidFill>
              </a:rPr>
              <a:t>L'accès durable aux antibiotiques nécessite une </a:t>
            </a:r>
            <a:r>
              <a:rPr lang="en-CH" sz="3200" dirty="0" err="1">
                <a:solidFill>
                  <a:schemeClr val="tx1"/>
                </a:solidFill>
              </a:rPr>
              <a:t>approche</a:t>
            </a:r>
            <a:r>
              <a:rPr lang="en-CH" sz="3200" dirty="0">
                <a:solidFill>
                  <a:schemeClr val="tx1"/>
                </a:solidFill>
              </a:rPr>
              <a:t> écosystémique</a:t>
            </a:r>
            <a:endParaRPr lang="en-US" sz="3200" dirty="0">
              <a:solidFill>
                <a:schemeClr val="tx1"/>
              </a:solidFill>
            </a:endParaRPr>
          </a:p>
        </p:txBody>
      </p:sp>
      <p:graphicFrame>
        <p:nvGraphicFramePr>
          <p:cNvPr id="3" name="Diagram 2">
            <a:extLst>
              <a:ext uri="{FF2B5EF4-FFF2-40B4-BE49-F238E27FC236}">
                <a16:creationId xmlns:a16="http://schemas.microsoft.com/office/drawing/2014/main" id="{5DB1651F-2AC4-57C9-41A6-E09726A5BAC8}"/>
              </a:ext>
            </a:extLst>
          </p:cNvPr>
          <p:cNvGraphicFramePr/>
          <p:nvPr>
            <p:extLst>
              <p:ext uri="{D42A27DB-BD31-4B8C-83A1-F6EECF244321}">
                <p14:modId xmlns:p14="http://schemas.microsoft.com/office/powerpoint/2010/main" val="167312247"/>
              </p:ext>
            </p:extLst>
          </p:nvPr>
        </p:nvGraphicFramePr>
        <p:xfrm>
          <a:off x="128788" y="875762"/>
          <a:ext cx="11741479" cy="59822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0DD80CB6-4591-3660-AA40-9CE8B40B7CD8}"/>
              </a:ext>
            </a:extLst>
          </p:cNvPr>
          <p:cNvSpPr/>
          <p:nvPr/>
        </p:nvSpPr>
        <p:spPr>
          <a:xfrm>
            <a:off x="605307" y="1168110"/>
            <a:ext cx="2472744" cy="1553112"/>
          </a:xfrm>
          <a:prstGeom prst="roundRect">
            <a:avLst/>
          </a:prstGeom>
          <a:solidFill>
            <a:schemeClr val="accent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H" sz="2400" dirty="0"/>
              <a:t>Guidé par les priorités de santé </a:t>
            </a:r>
            <a:r>
              <a:rPr lang="en-US" sz="2400" dirty="0"/>
              <a:t>publique</a:t>
            </a:r>
          </a:p>
        </p:txBody>
      </p:sp>
      <p:sp>
        <p:nvSpPr>
          <p:cNvPr id="5" name="Rectangle: Rounded Corners 4">
            <a:extLst>
              <a:ext uri="{FF2B5EF4-FFF2-40B4-BE49-F238E27FC236}">
                <a16:creationId xmlns:a16="http://schemas.microsoft.com/office/drawing/2014/main" id="{9DFE77BB-CE52-6E1D-57A5-362C980FC67B}"/>
              </a:ext>
            </a:extLst>
          </p:cNvPr>
          <p:cNvSpPr/>
          <p:nvPr/>
        </p:nvSpPr>
        <p:spPr>
          <a:xfrm>
            <a:off x="605307" y="4643135"/>
            <a:ext cx="2472744" cy="1553111"/>
          </a:xfrm>
          <a:prstGeom prst="roundRect">
            <a:avLst/>
          </a:prstGeom>
          <a:solidFill>
            <a:schemeClr val="accent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H" sz="2400" dirty="0"/>
              <a:t>Tirer parti des partenariats public-privé</a:t>
            </a:r>
            <a:endParaRPr lang="en-US" sz="2400" dirty="0"/>
          </a:p>
        </p:txBody>
      </p:sp>
      <p:sp>
        <p:nvSpPr>
          <p:cNvPr id="6" name="Rectangle: Rounded Corners 5">
            <a:extLst>
              <a:ext uri="{FF2B5EF4-FFF2-40B4-BE49-F238E27FC236}">
                <a16:creationId xmlns:a16="http://schemas.microsoft.com/office/drawing/2014/main" id="{30AEE99D-99E9-1C5D-034E-C163DE694313}"/>
              </a:ext>
            </a:extLst>
          </p:cNvPr>
          <p:cNvSpPr/>
          <p:nvPr/>
        </p:nvSpPr>
        <p:spPr>
          <a:xfrm>
            <a:off x="9110029" y="1228637"/>
            <a:ext cx="2472744" cy="1553112"/>
          </a:xfrm>
          <a:prstGeom prst="roundRect">
            <a:avLst/>
          </a:prstGeom>
          <a:solidFill>
            <a:schemeClr val="accent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H" sz="2400" dirty="0"/>
              <a:t>Dirigé par des acteurs diversifiés et coordonnés</a:t>
            </a:r>
            <a:endParaRPr lang="en-US" sz="2400" dirty="0"/>
          </a:p>
        </p:txBody>
      </p:sp>
      <p:sp>
        <p:nvSpPr>
          <p:cNvPr id="7" name="Rectangle: Rounded Corners 6">
            <a:extLst>
              <a:ext uri="{FF2B5EF4-FFF2-40B4-BE49-F238E27FC236}">
                <a16:creationId xmlns:a16="http://schemas.microsoft.com/office/drawing/2014/main" id="{916B80F5-FA7A-66FC-DFC3-A1788A43A013}"/>
              </a:ext>
            </a:extLst>
          </p:cNvPr>
          <p:cNvSpPr/>
          <p:nvPr/>
        </p:nvSpPr>
        <p:spPr>
          <a:xfrm>
            <a:off x="9110029" y="4076252"/>
            <a:ext cx="2472744" cy="1905986"/>
          </a:xfrm>
          <a:prstGeom prst="roundRect">
            <a:avLst/>
          </a:prstGeom>
          <a:solidFill>
            <a:schemeClr val="accent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H" sz="2400" dirty="0"/>
              <a:t>Répondre à la montée en puissance des systèmes régionaux</a:t>
            </a:r>
            <a:endParaRPr lang="en-US" sz="2400" dirty="0"/>
          </a:p>
        </p:txBody>
      </p:sp>
      <p:sp>
        <p:nvSpPr>
          <p:cNvPr id="8" name="TextBox 7">
            <a:extLst>
              <a:ext uri="{FF2B5EF4-FFF2-40B4-BE49-F238E27FC236}">
                <a16:creationId xmlns:a16="http://schemas.microsoft.com/office/drawing/2014/main" id="{FAC273DF-B5C0-452F-B177-C50287F8F74E}"/>
              </a:ext>
            </a:extLst>
          </p:cNvPr>
          <p:cNvSpPr txBox="1"/>
          <p:nvPr/>
        </p:nvSpPr>
        <p:spPr>
          <a:xfrm>
            <a:off x="3756752" y="2181341"/>
            <a:ext cx="2144749" cy="1785104"/>
          </a:xfrm>
          <a:prstGeom prst="rect">
            <a:avLst/>
          </a:prstGeom>
          <a:noFill/>
        </p:spPr>
        <p:txBody>
          <a:bodyPr wrap="square" rtlCol="0">
            <a:spAutoFit/>
          </a:bodyPr>
          <a:lstStyle/>
          <a:p>
            <a:pPr algn="ctr"/>
            <a:r>
              <a:rPr lang="en-CH" sz="2200" dirty="0">
                <a:solidFill>
                  <a:schemeClr val="bg1"/>
                </a:solidFill>
              </a:rPr>
              <a:t>Développement de médicaments à but non lucratif </a:t>
            </a:r>
            <a:endParaRPr lang="en-US" sz="2200" dirty="0">
              <a:solidFill>
                <a:schemeClr val="bg1"/>
              </a:solidFill>
            </a:endParaRPr>
          </a:p>
          <a:p>
            <a:pPr algn="ctr"/>
            <a:endParaRPr lang="en-US" sz="2200" dirty="0">
              <a:solidFill>
                <a:schemeClr val="bg1"/>
              </a:solidFill>
            </a:endParaRPr>
          </a:p>
        </p:txBody>
      </p:sp>
    </p:spTree>
    <p:extLst>
      <p:ext uri="{BB962C8B-B14F-4D97-AF65-F5344CB8AC3E}">
        <p14:creationId xmlns:p14="http://schemas.microsoft.com/office/powerpoint/2010/main" val="21727356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9BF98B20-7CA3-B2D3-19BF-A1D9738951D1}"/>
              </a:ext>
            </a:extLst>
          </p:cNvPr>
          <p:cNvGraphicFramePr/>
          <p:nvPr/>
        </p:nvGraphicFramePr>
        <p:xfrm>
          <a:off x="-12366" y="-6697"/>
          <a:ext cx="1384347" cy="12137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a:extLst>
              <a:ext uri="{FF2B5EF4-FFF2-40B4-BE49-F238E27FC236}">
                <a16:creationId xmlns:a16="http://schemas.microsoft.com/office/drawing/2014/main" id="{D48B8553-925A-5381-59E5-E217EABAE28A}"/>
              </a:ext>
            </a:extLst>
          </p:cNvPr>
          <p:cNvSpPr txBox="1">
            <a:spLocks/>
          </p:cNvSpPr>
          <p:nvPr/>
        </p:nvSpPr>
        <p:spPr>
          <a:xfrm>
            <a:off x="1261872" y="198147"/>
            <a:ext cx="10664952" cy="969963"/>
          </a:xfrm>
          <a:prstGeom prst="rect">
            <a:avLst/>
          </a:prstGeom>
        </p:spPr>
        <p:txBody>
          <a:bodyPr/>
          <a:lstStyle>
            <a:lvl1pPr algn="l" defTabSz="914377" rtl="0" eaLnBrk="1" latinLnBrk="0" hangingPunct="1">
              <a:lnSpc>
                <a:spcPct val="90000"/>
              </a:lnSpc>
              <a:spcBef>
                <a:spcPct val="0"/>
              </a:spcBef>
              <a:buNone/>
              <a:defRPr sz="3500" b="1" kern="1200">
                <a:solidFill>
                  <a:srgbClr val="0D1F2F"/>
                </a:solidFill>
                <a:latin typeface="Arial" panose="020B0604020202020204" pitchFamily="34" charset="0"/>
                <a:ea typeface="+mj-ea"/>
                <a:cs typeface="Arial" panose="020B0604020202020204" pitchFamily="34" charset="0"/>
              </a:defRPr>
            </a:lvl1pPr>
          </a:lstStyle>
          <a:p>
            <a:r>
              <a:rPr lang="en-CH" sz="2800" dirty="0">
                <a:solidFill>
                  <a:schemeClr val="tx1"/>
                </a:solidFill>
              </a:rPr>
              <a:t>Le développement de médicaments à but non lucratif peut accélérer de manière abordable les traitements afin de relever les défis de santé publique</a:t>
            </a:r>
            <a:endParaRPr lang="en-US" sz="2800" dirty="0">
              <a:solidFill>
                <a:schemeClr val="tx1"/>
              </a:solidFill>
            </a:endParaRPr>
          </a:p>
        </p:txBody>
      </p:sp>
      <p:sp>
        <p:nvSpPr>
          <p:cNvPr id="6" name="Arrow: Curved Left 5">
            <a:extLst>
              <a:ext uri="{FF2B5EF4-FFF2-40B4-BE49-F238E27FC236}">
                <a16:creationId xmlns:a16="http://schemas.microsoft.com/office/drawing/2014/main" id="{F0CC9D2F-A169-023D-82AB-BFCFF3163725}"/>
              </a:ext>
            </a:extLst>
          </p:cNvPr>
          <p:cNvSpPr/>
          <p:nvPr/>
        </p:nvSpPr>
        <p:spPr>
          <a:xfrm>
            <a:off x="4025245" y="2007909"/>
            <a:ext cx="7700030" cy="4242062"/>
          </a:xfrm>
          <a:prstGeom prst="curvedLeftArrow">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pic>
        <p:nvPicPr>
          <p:cNvPr id="7" name="Picture 6">
            <a:extLst>
              <a:ext uri="{FF2B5EF4-FFF2-40B4-BE49-F238E27FC236}">
                <a16:creationId xmlns:a16="http://schemas.microsoft.com/office/drawing/2014/main" id="{DA49F07F-C46A-F1DF-BFB3-DFB7FC779213}"/>
              </a:ext>
            </a:extLst>
          </p:cNvPr>
          <p:cNvPicPr>
            <a:picLocks noChangeAspect="1"/>
          </p:cNvPicPr>
          <p:nvPr/>
        </p:nvPicPr>
        <p:blipFill>
          <a:blip r:embed="rId8"/>
          <a:stretch>
            <a:fillRect/>
          </a:stretch>
        </p:blipFill>
        <p:spPr>
          <a:xfrm>
            <a:off x="119726" y="1730097"/>
            <a:ext cx="4522727" cy="1620655"/>
          </a:xfrm>
          <a:prstGeom prst="rect">
            <a:avLst/>
          </a:prstGeom>
        </p:spPr>
      </p:pic>
      <p:pic>
        <p:nvPicPr>
          <p:cNvPr id="8" name="Picture 7">
            <a:extLst>
              <a:ext uri="{FF2B5EF4-FFF2-40B4-BE49-F238E27FC236}">
                <a16:creationId xmlns:a16="http://schemas.microsoft.com/office/drawing/2014/main" id="{BE7A97AD-903B-B4DC-9DCC-E898380B4CC6}"/>
              </a:ext>
            </a:extLst>
          </p:cNvPr>
          <p:cNvPicPr>
            <a:picLocks noChangeAspect="1"/>
          </p:cNvPicPr>
          <p:nvPr/>
        </p:nvPicPr>
        <p:blipFill>
          <a:blip r:embed="rId9"/>
          <a:stretch>
            <a:fillRect/>
          </a:stretch>
        </p:blipFill>
        <p:spPr>
          <a:xfrm>
            <a:off x="7356666" y="2675397"/>
            <a:ext cx="4297680" cy="2499139"/>
          </a:xfrm>
          <a:prstGeom prst="rect">
            <a:avLst/>
          </a:prstGeom>
        </p:spPr>
      </p:pic>
      <p:pic>
        <p:nvPicPr>
          <p:cNvPr id="9" name="Picture 8">
            <a:extLst>
              <a:ext uri="{FF2B5EF4-FFF2-40B4-BE49-F238E27FC236}">
                <a16:creationId xmlns:a16="http://schemas.microsoft.com/office/drawing/2014/main" id="{A80E2437-C360-77AF-4920-AC434EB7AACA}"/>
              </a:ext>
            </a:extLst>
          </p:cNvPr>
          <p:cNvPicPr>
            <a:picLocks noChangeAspect="1"/>
          </p:cNvPicPr>
          <p:nvPr/>
        </p:nvPicPr>
        <p:blipFill>
          <a:blip r:embed="rId10"/>
          <a:stretch>
            <a:fillRect/>
          </a:stretch>
        </p:blipFill>
        <p:spPr>
          <a:xfrm>
            <a:off x="291961" y="4182414"/>
            <a:ext cx="3632339" cy="2379964"/>
          </a:xfrm>
          <a:prstGeom prst="rect">
            <a:avLst/>
          </a:prstGeom>
        </p:spPr>
      </p:pic>
      <p:sp>
        <p:nvSpPr>
          <p:cNvPr id="10" name="TextBox 9">
            <a:extLst>
              <a:ext uri="{FF2B5EF4-FFF2-40B4-BE49-F238E27FC236}">
                <a16:creationId xmlns:a16="http://schemas.microsoft.com/office/drawing/2014/main" id="{7ACBEED9-7A89-F86D-D101-05F327298670}"/>
              </a:ext>
            </a:extLst>
          </p:cNvPr>
          <p:cNvSpPr txBox="1"/>
          <p:nvPr/>
        </p:nvSpPr>
        <p:spPr>
          <a:xfrm>
            <a:off x="7677141" y="4784228"/>
            <a:ext cx="3656730" cy="369332"/>
          </a:xfrm>
          <a:prstGeom prst="rect">
            <a:avLst/>
          </a:prstGeom>
          <a:noFill/>
        </p:spPr>
        <p:txBody>
          <a:bodyPr wrap="square" rtlCol="0">
            <a:spAutoFit/>
          </a:bodyPr>
          <a:lstStyle/>
          <a:p>
            <a:pPr algn="ctr"/>
            <a:r>
              <a:rPr lang="en-CH" dirty="0"/>
              <a:t>Sites partenaires des essais cliniques du GARDP</a:t>
            </a:r>
            <a:endParaRPr lang="en-US" dirty="0"/>
          </a:p>
        </p:txBody>
      </p:sp>
      <p:sp>
        <p:nvSpPr>
          <p:cNvPr id="12" name="TextBox 11">
            <a:extLst>
              <a:ext uri="{FF2B5EF4-FFF2-40B4-BE49-F238E27FC236}">
                <a16:creationId xmlns:a16="http://schemas.microsoft.com/office/drawing/2014/main" id="{6C40A321-2993-BBCB-1718-68EEE2A20BF0}"/>
              </a:ext>
            </a:extLst>
          </p:cNvPr>
          <p:cNvSpPr txBox="1"/>
          <p:nvPr/>
        </p:nvSpPr>
        <p:spPr>
          <a:xfrm>
            <a:off x="4307095" y="5736523"/>
            <a:ext cx="6099142" cy="923330"/>
          </a:xfrm>
          <a:prstGeom prst="rect">
            <a:avLst/>
          </a:prstGeom>
          <a:noFill/>
        </p:spPr>
        <p:txBody>
          <a:bodyPr wrap="square">
            <a:spAutoFit/>
          </a:bodyPr>
          <a:lstStyle/>
          <a:p>
            <a:r>
              <a:rPr lang="en-US" b="1" dirty="0">
                <a:solidFill>
                  <a:schemeClr val="tx1">
                    <a:lumMod val="75000"/>
                    <a:lumOff val="25000"/>
                  </a:schemeClr>
                </a:solidFill>
              </a:rPr>
              <a:t>Les coûts de développement de médicaments d'un PDP ne représentent qu'une fraction de ce que dépense généralement le secteur privé.</a:t>
            </a:r>
          </a:p>
        </p:txBody>
      </p:sp>
    </p:spTree>
    <p:extLst>
      <p:ext uri="{BB962C8B-B14F-4D97-AF65-F5344CB8AC3E}">
        <p14:creationId xmlns:p14="http://schemas.microsoft.com/office/powerpoint/2010/main" val="3774895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DD770B64-CB52-D64C-A163-1347AA73EBB7}"/>
              </a:ext>
            </a:extLst>
          </p:cNvPr>
          <p:cNvGraphicFramePr/>
          <p:nvPr/>
        </p:nvGraphicFramePr>
        <p:xfrm>
          <a:off x="-12366" y="-6697"/>
          <a:ext cx="1384347" cy="12137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3" name="Title 1">
            <a:extLst>
              <a:ext uri="{FF2B5EF4-FFF2-40B4-BE49-F238E27FC236}">
                <a16:creationId xmlns:a16="http://schemas.microsoft.com/office/drawing/2014/main" id="{68FCB062-C638-7979-ED21-DF41CB59A719}"/>
              </a:ext>
            </a:extLst>
          </p:cNvPr>
          <p:cNvSpPr txBox="1">
            <a:spLocks/>
          </p:cNvSpPr>
          <p:nvPr/>
        </p:nvSpPr>
        <p:spPr>
          <a:xfrm>
            <a:off x="1261872" y="198147"/>
            <a:ext cx="10664952" cy="969963"/>
          </a:xfrm>
          <a:prstGeom prst="rect">
            <a:avLst/>
          </a:prstGeom>
        </p:spPr>
        <p:txBody>
          <a:bodyPr/>
          <a:lstStyle>
            <a:lvl1pPr algn="l" defTabSz="914377" rtl="0" eaLnBrk="1" latinLnBrk="0" hangingPunct="1">
              <a:lnSpc>
                <a:spcPct val="90000"/>
              </a:lnSpc>
              <a:spcBef>
                <a:spcPct val="0"/>
              </a:spcBef>
              <a:buNone/>
              <a:defRPr sz="3500" b="1" kern="1200">
                <a:solidFill>
                  <a:srgbClr val="0D1F2F"/>
                </a:solidFill>
                <a:latin typeface="Arial" panose="020B0604020202020204" pitchFamily="34" charset="0"/>
                <a:ea typeface="+mj-ea"/>
                <a:cs typeface="Arial" panose="020B0604020202020204" pitchFamily="34" charset="0"/>
              </a:defRPr>
            </a:lvl1pPr>
          </a:lstStyle>
          <a:p>
            <a:r>
              <a:rPr lang="en-US" sz="2800" dirty="0">
                <a:solidFill>
                  <a:schemeClr val="tx1"/>
                </a:solidFill>
              </a:rPr>
              <a:t>Une approche </a:t>
            </a:r>
            <a:r>
              <a:rPr lang="en-US" sz="2800">
                <a:solidFill>
                  <a:schemeClr val="tx1"/>
                </a:solidFill>
              </a:rPr>
              <a:t>solide </a:t>
            </a:r>
            <a:r>
              <a:rPr lang="en-US" sz="2800" dirty="0">
                <a:solidFill>
                  <a:schemeClr val="tx1"/>
                </a:solidFill>
              </a:rPr>
              <a:t>en matière d'octroi de licences pour aider à localiser la fabrication dans les pays à revenu faible et intermédiaire et réduire les coûts</a:t>
            </a:r>
          </a:p>
        </p:txBody>
      </p:sp>
      <p:pic>
        <p:nvPicPr>
          <p:cNvPr id="2" name="Graphic 1" descr="Factory with solid fill">
            <a:extLst>
              <a:ext uri="{FF2B5EF4-FFF2-40B4-BE49-F238E27FC236}">
                <a16:creationId xmlns:a16="http://schemas.microsoft.com/office/drawing/2014/main" id="{6CAC566B-FF75-F870-1899-93D0B2EB0A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6452" y="3522080"/>
            <a:ext cx="914400" cy="914400"/>
          </a:xfrm>
          <a:prstGeom prst="rect">
            <a:avLst/>
          </a:prstGeom>
        </p:spPr>
      </p:pic>
      <p:pic>
        <p:nvPicPr>
          <p:cNvPr id="3" name="Graphic 2" descr="Factory with solid fill">
            <a:extLst>
              <a:ext uri="{FF2B5EF4-FFF2-40B4-BE49-F238E27FC236}">
                <a16:creationId xmlns:a16="http://schemas.microsoft.com/office/drawing/2014/main" id="{7F345F2D-48CB-F650-39CB-F615194B494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37931" y="4379989"/>
            <a:ext cx="914400" cy="914400"/>
          </a:xfrm>
          <a:prstGeom prst="rect">
            <a:avLst/>
          </a:prstGeom>
        </p:spPr>
      </p:pic>
      <p:pic>
        <p:nvPicPr>
          <p:cNvPr id="7" name="Graphic 6" descr="Factory with solid fill">
            <a:extLst>
              <a:ext uri="{FF2B5EF4-FFF2-40B4-BE49-F238E27FC236}">
                <a16:creationId xmlns:a16="http://schemas.microsoft.com/office/drawing/2014/main" id="{93DBDCE6-967E-CD57-A980-D63F672F485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37931" y="3522080"/>
            <a:ext cx="914400" cy="914400"/>
          </a:xfrm>
          <a:prstGeom prst="rect">
            <a:avLst/>
          </a:prstGeom>
        </p:spPr>
      </p:pic>
      <p:pic>
        <p:nvPicPr>
          <p:cNvPr id="8" name="Graphic 7" descr="Factory with solid fill">
            <a:extLst>
              <a:ext uri="{FF2B5EF4-FFF2-40B4-BE49-F238E27FC236}">
                <a16:creationId xmlns:a16="http://schemas.microsoft.com/office/drawing/2014/main" id="{D4E95B27-8906-E733-56AB-385436FBF7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37931" y="2664172"/>
            <a:ext cx="914400" cy="914400"/>
          </a:xfrm>
          <a:prstGeom prst="rect">
            <a:avLst/>
          </a:prstGeom>
        </p:spPr>
      </p:pic>
      <p:cxnSp>
        <p:nvCxnSpPr>
          <p:cNvPr id="11" name="Straight Arrow Connector 10">
            <a:extLst>
              <a:ext uri="{FF2B5EF4-FFF2-40B4-BE49-F238E27FC236}">
                <a16:creationId xmlns:a16="http://schemas.microsoft.com/office/drawing/2014/main" id="{2EDB131A-B325-531F-1F79-B4136C4996E7}"/>
              </a:ext>
            </a:extLst>
          </p:cNvPr>
          <p:cNvCxnSpPr>
            <a:cxnSpLocks/>
            <a:stCxn id="36" idx="3"/>
            <a:endCxn id="8" idx="1"/>
          </p:cNvCxnSpPr>
          <p:nvPr/>
        </p:nvCxnSpPr>
        <p:spPr>
          <a:xfrm flipV="1">
            <a:off x="5231626" y="3121372"/>
            <a:ext cx="1606305" cy="857909"/>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8E8A6DF-2A6A-5567-3456-1D6A8FA25272}"/>
              </a:ext>
            </a:extLst>
          </p:cNvPr>
          <p:cNvCxnSpPr>
            <a:cxnSpLocks/>
            <a:stCxn id="36" idx="3"/>
            <a:endCxn id="7" idx="1"/>
          </p:cNvCxnSpPr>
          <p:nvPr/>
        </p:nvCxnSpPr>
        <p:spPr>
          <a:xfrm flipV="1">
            <a:off x="5231626" y="3979280"/>
            <a:ext cx="1606305" cy="1"/>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9EC437F-E460-7F2D-6E20-4689F1FE617B}"/>
              </a:ext>
            </a:extLst>
          </p:cNvPr>
          <p:cNvCxnSpPr>
            <a:cxnSpLocks/>
            <a:stCxn id="36" idx="3"/>
            <a:endCxn id="3" idx="1"/>
          </p:cNvCxnSpPr>
          <p:nvPr/>
        </p:nvCxnSpPr>
        <p:spPr>
          <a:xfrm>
            <a:off x="5231626" y="3979281"/>
            <a:ext cx="1606305" cy="857908"/>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36" name="Picture 35" descr="A screenshot of a video game&#10;&#10;Description automatically generated with medium confidence">
            <a:extLst>
              <a:ext uri="{FF2B5EF4-FFF2-40B4-BE49-F238E27FC236}">
                <a16:creationId xmlns:a16="http://schemas.microsoft.com/office/drawing/2014/main" id="{29CFEABA-6817-3D63-E588-11424AAED41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797157" y="3619182"/>
            <a:ext cx="2434469" cy="720197"/>
          </a:xfrm>
          <a:prstGeom prst="rect">
            <a:avLst/>
          </a:prstGeom>
        </p:spPr>
      </p:pic>
      <p:cxnSp>
        <p:nvCxnSpPr>
          <p:cNvPr id="41" name="Straight Arrow Connector 40">
            <a:extLst>
              <a:ext uri="{FF2B5EF4-FFF2-40B4-BE49-F238E27FC236}">
                <a16:creationId xmlns:a16="http://schemas.microsoft.com/office/drawing/2014/main" id="{BDDA0942-4851-55DA-AC68-CB6BD11E2EE2}"/>
              </a:ext>
            </a:extLst>
          </p:cNvPr>
          <p:cNvCxnSpPr>
            <a:cxnSpLocks/>
            <a:stCxn id="2" idx="3"/>
            <a:endCxn id="36" idx="1"/>
          </p:cNvCxnSpPr>
          <p:nvPr/>
        </p:nvCxnSpPr>
        <p:spPr>
          <a:xfrm>
            <a:off x="1190852" y="3979280"/>
            <a:ext cx="1606305" cy="1"/>
          </a:xfrm>
          <a:prstGeom prst="straightConnector1">
            <a:avLst/>
          </a:prstGeom>
          <a:ln w="28575">
            <a:solidFill>
              <a:schemeClr val="tx1">
                <a:lumMod val="75000"/>
                <a:lumOff val="25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44F82083-41C6-1C67-EE9E-C6A0A74D0B6B}"/>
              </a:ext>
            </a:extLst>
          </p:cNvPr>
          <p:cNvGrpSpPr/>
          <p:nvPr/>
        </p:nvGrpSpPr>
        <p:grpSpPr>
          <a:xfrm>
            <a:off x="9553966" y="2331375"/>
            <a:ext cx="542798" cy="552449"/>
            <a:chOff x="9553966" y="2110659"/>
            <a:chExt cx="542798" cy="552449"/>
          </a:xfrm>
          <a:solidFill>
            <a:srgbClr val="FFC000"/>
          </a:solidFill>
        </p:grpSpPr>
        <p:sp>
          <p:nvSpPr>
            <p:cNvPr id="18" name="Freeform: Shape 17">
              <a:extLst>
                <a:ext uri="{FF2B5EF4-FFF2-40B4-BE49-F238E27FC236}">
                  <a16:creationId xmlns:a16="http://schemas.microsoft.com/office/drawing/2014/main" id="{672F519C-1435-C389-E3F6-A67FF4C42354}"/>
                </a:ext>
              </a:extLst>
            </p:cNvPr>
            <p:cNvSpPr/>
            <p:nvPr/>
          </p:nvSpPr>
          <p:spPr>
            <a:xfrm>
              <a:off x="10011099" y="2396409"/>
              <a:ext cx="47625" cy="47625"/>
            </a:xfrm>
            <a:custGeom>
              <a:avLst/>
              <a:gdLst>
                <a:gd name="connsiteX0" fmla="*/ 23813 w 47625"/>
                <a:gd name="connsiteY0" fmla="*/ 47625 h 47625"/>
                <a:gd name="connsiteX1" fmla="*/ 47625 w 47625"/>
                <a:gd name="connsiteY1" fmla="*/ 23813 h 47625"/>
                <a:gd name="connsiteX2" fmla="*/ 23813 w 47625"/>
                <a:gd name="connsiteY2" fmla="*/ 0 h 47625"/>
                <a:gd name="connsiteX3" fmla="*/ 0 w 47625"/>
                <a:gd name="connsiteY3" fmla="*/ 23813 h 47625"/>
                <a:gd name="connsiteX4" fmla="*/ 23813 w 47625"/>
                <a:gd name="connsiteY4" fmla="*/ 4762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3813" y="47625"/>
                  </a:moveTo>
                  <a:cubicBezTo>
                    <a:pt x="36964" y="47625"/>
                    <a:pt x="47625" y="36964"/>
                    <a:pt x="47625" y="23813"/>
                  </a:cubicBezTo>
                  <a:cubicBezTo>
                    <a:pt x="47625" y="10661"/>
                    <a:pt x="36964" y="0"/>
                    <a:pt x="23813" y="0"/>
                  </a:cubicBezTo>
                  <a:cubicBezTo>
                    <a:pt x="10661" y="0"/>
                    <a:pt x="0" y="10661"/>
                    <a:pt x="0" y="23813"/>
                  </a:cubicBezTo>
                  <a:cubicBezTo>
                    <a:pt x="0" y="36964"/>
                    <a:pt x="10661" y="47625"/>
                    <a:pt x="23813" y="47625"/>
                  </a:cubicBezTo>
                  <a:close/>
                </a:path>
              </a:pathLst>
            </a:custGeom>
            <a:grp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4A5A8C3E-A721-C9BB-0767-9FA97E4FEBA4}"/>
                </a:ext>
              </a:extLst>
            </p:cNvPr>
            <p:cNvSpPr/>
            <p:nvPr/>
          </p:nvSpPr>
          <p:spPr>
            <a:xfrm>
              <a:off x="9801549" y="2396409"/>
              <a:ext cx="47625" cy="47625"/>
            </a:xfrm>
            <a:custGeom>
              <a:avLst/>
              <a:gdLst>
                <a:gd name="connsiteX0" fmla="*/ 23813 w 47625"/>
                <a:gd name="connsiteY0" fmla="*/ 47625 h 47625"/>
                <a:gd name="connsiteX1" fmla="*/ 47625 w 47625"/>
                <a:gd name="connsiteY1" fmla="*/ 23813 h 47625"/>
                <a:gd name="connsiteX2" fmla="*/ 23813 w 47625"/>
                <a:gd name="connsiteY2" fmla="*/ 0 h 47625"/>
                <a:gd name="connsiteX3" fmla="*/ 0 w 47625"/>
                <a:gd name="connsiteY3" fmla="*/ 23813 h 47625"/>
                <a:gd name="connsiteX4" fmla="*/ 23813 w 47625"/>
                <a:gd name="connsiteY4" fmla="*/ 4762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3813" y="47625"/>
                  </a:moveTo>
                  <a:cubicBezTo>
                    <a:pt x="36964" y="47625"/>
                    <a:pt x="47625" y="36964"/>
                    <a:pt x="47625" y="23813"/>
                  </a:cubicBezTo>
                  <a:cubicBezTo>
                    <a:pt x="47625" y="10661"/>
                    <a:pt x="36964" y="0"/>
                    <a:pt x="23813" y="0"/>
                  </a:cubicBezTo>
                  <a:cubicBezTo>
                    <a:pt x="10661" y="0"/>
                    <a:pt x="0" y="10661"/>
                    <a:pt x="0" y="23813"/>
                  </a:cubicBezTo>
                  <a:cubicBezTo>
                    <a:pt x="0" y="36964"/>
                    <a:pt x="10661" y="47625"/>
                    <a:pt x="23813" y="47625"/>
                  </a:cubicBezTo>
                  <a:close/>
                </a:path>
              </a:pathLst>
            </a:custGeom>
            <a:grp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2CE15553-16A0-4450-A14D-6FBBDC94FF1F}"/>
                </a:ext>
              </a:extLst>
            </p:cNvPr>
            <p:cNvSpPr/>
            <p:nvPr/>
          </p:nvSpPr>
          <p:spPr>
            <a:xfrm>
              <a:off x="9906324" y="2396409"/>
              <a:ext cx="47625" cy="47625"/>
            </a:xfrm>
            <a:custGeom>
              <a:avLst/>
              <a:gdLst>
                <a:gd name="connsiteX0" fmla="*/ 23813 w 47625"/>
                <a:gd name="connsiteY0" fmla="*/ 47625 h 47625"/>
                <a:gd name="connsiteX1" fmla="*/ 47625 w 47625"/>
                <a:gd name="connsiteY1" fmla="*/ 23813 h 47625"/>
                <a:gd name="connsiteX2" fmla="*/ 23813 w 47625"/>
                <a:gd name="connsiteY2" fmla="*/ 0 h 47625"/>
                <a:gd name="connsiteX3" fmla="*/ 0 w 47625"/>
                <a:gd name="connsiteY3" fmla="*/ 23813 h 47625"/>
                <a:gd name="connsiteX4" fmla="*/ 23813 w 47625"/>
                <a:gd name="connsiteY4" fmla="*/ 4762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3813" y="47625"/>
                  </a:moveTo>
                  <a:cubicBezTo>
                    <a:pt x="36964" y="47625"/>
                    <a:pt x="47625" y="36964"/>
                    <a:pt x="47625" y="23813"/>
                  </a:cubicBezTo>
                  <a:cubicBezTo>
                    <a:pt x="47625" y="10661"/>
                    <a:pt x="36964" y="0"/>
                    <a:pt x="23813" y="0"/>
                  </a:cubicBezTo>
                  <a:cubicBezTo>
                    <a:pt x="10661" y="0"/>
                    <a:pt x="0" y="10661"/>
                    <a:pt x="0" y="23813"/>
                  </a:cubicBezTo>
                  <a:cubicBezTo>
                    <a:pt x="0" y="36964"/>
                    <a:pt x="10661" y="47625"/>
                    <a:pt x="23813" y="47625"/>
                  </a:cubicBezTo>
                  <a:close/>
                </a:path>
              </a:pathLst>
            </a:custGeom>
            <a:grp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E448422-2142-EF7D-F1CB-26383282CE38}"/>
                </a:ext>
              </a:extLst>
            </p:cNvPr>
            <p:cNvSpPr/>
            <p:nvPr/>
          </p:nvSpPr>
          <p:spPr>
            <a:xfrm>
              <a:off x="9591999" y="2396409"/>
              <a:ext cx="47625" cy="47625"/>
            </a:xfrm>
            <a:custGeom>
              <a:avLst/>
              <a:gdLst>
                <a:gd name="connsiteX0" fmla="*/ 23813 w 47625"/>
                <a:gd name="connsiteY0" fmla="*/ 47625 h 47625"/>
                <a:gd name="connsiteX1" fmla="*/ 47625 w 47625"/>
                <a:gd name="connsiteY1" fmla="*/ 23813 h 47625"/>
                <a:gd name="connsiteX2" fmla="*/ 23813 w 47625"/>
                <a:gd name="connsiteY2" fmla="*/ 0 h 47625"/>
                <a:gd name="connsiteX3" fmla="*/ 0 w 47625"/>
                <a:gd name="connsiteY3" fmla="*/ 23813 h 47625"/>
                <a:gd name="connsiteX4" fmla="*/ 23813 w 47625"/>
                <a:gd name="connsiteY4" fmla="*/ 4762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3813" y="47625"/>
                  </a:moveTo>
                  <a:cubicBezTo>
                    <a:pt x="36964" y="47625"/>
                    <a:pt x="47625" y="36964"/>
                    <a:pt x="47625" y="23813"/>
                  </a:cubicBezTo>
                  <a:cubicBezTo>
                    <a:pt x="47625" y="10661"/>
                    <a:pt x="36964" y="0"/>
                    <a:pt x="23813" y="0"/>
                  </a:cubicBezTo>
                  <a:cubicBezTo>
                    <a:pt x="10661" y="0"/>
                    <a:pt x="0" y="10661"/>
                    <a:pt x="0" y="23813"/>
                  </a:cubicBezTo>
                  <a:cubicBezTo>
                    <a:pt x="0" y="36964"/>
                    <a:pt x="10661" y="47625"/>
                    <a:pt x="23813" y="47625"/>
                  </a:cubicBezTo>
                  <a:close/>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2C69EA19-2201-4D6B-B836-9A5413EAD00F}"/>
                </a:ext>
              </a:extLst>
            </p:cNvPr>
            <p:cNvSpPr/>
            <p:nvPr/>
          </p:nvSpPr>
          <p:spPr>
            <a:xfrm>
              <a:off x="9696774" y="2396409"/>
              <a:ext cx="47625" cy="47625"/>
            </a:xfrm>
            <a:custGeom>
              <a:avLst/>
              <a:gdLst>
                <a:gd name="connsiteX0" fmla="*/ 23813 w 47625"/>
                <a:gd name="connsiteY0" fmla="*/ 47625 h 47625"/>
                <a:gd name="connsiteX1" fmla="*/ 47625 w 47625"/>
                <a:gd name="connsiteY1" fmla="*/ 23813 h 47625"/>
                <a:gd name="connsiteX2" fmla="*/ 23813 w 47625"/>
                <a:gd name="connsiteY2" fmla="*/ 0 h 47625"/>
                <a:gd name="connsiteX3" fmla="*/ 0 w 47625"/>
                <a:gd name="connsiteY3" fmla="*/ 23813 h 47625"/>
                <a:gd name="connsiteX4" fmla="*/ 23813 w 47625"/>
                <a:gd name="connsiteY4" fmla="*/ 4762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3813" y="47625"/>
                  </a:moveTo>
                  <a:cubicBezTo>
                    <a:pt x="36964" y="47625"/>
                    <a:pt x="47625" y="36964"/>
                    <a:pt x="47625" y="23813"/>
                  </a:cubicBezTo>
                  <a:cubicBezTo>
                    <a:pt x="47625" y="10661"/>
                    <a:pt x="36964" y="0"/>
                    <a:pt x="23813" y="0"/>
                  </a:cubicBezTo>
                  <a:cubicBezTo>
                    <a:pt x="10661" y="0"/>
                    <a:pt x="0" y="10661"/>
                    <a:pt x="0" y="23813"/>
                  </a:cubicBezTo>
                  <a:cubicBezTo>
                    <a:pt x="0" y="36964"/>
                    <a:pt x="10661" y="47625"/>
                    <a:pt x="23813" y="47625"/>
                  </a:cubicBezTo>
                  <a:close/>
                </a:path>
              </a:pathLst>
            </a:custGeom>
            <a:grp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A68B982-ACF1-39A3-FFA1-1A0C2083444E}"/>
                </a:ext>
              </a:extLst>
            </p:cNvPr>
            <p:cNvSpPr/>
            <p:nvPr/>
          </p:nvSpPr>
          <p:spPr>
            <a:xfrm>
              <a:off x="9553966" y="2453538"/>
              <a:ext cx="542798" cy="209570"/>
            </a:xfrm>
            <a:custGeom>
              <a:avLst/>
              <a:gdLst>
                <a:gd name="connsiteX0" fmla="*/ 542382 w 542798"/>
                <a:gd name="connsiteY0" fmla="*/ 92032 h 209570"/>
                <a:gd name="connsiteX1" fmla="*/ 523998 w 542798"/>
                <a:gd name="connsiteY1" fmla="*/ 22690 h 209570"/>
                <a:gd name="connsiteX2" fmla="*/ 521236 w 542798"/>
                <a:gd name="connsiteY2" fmla="*/ 17356 h 209570"/>
                <a:gd name="connsiteX3" fmla="*/ 498567 w 542798"/>
                <a:gd name="connsiteY3" fmla="*/ 2974 h 209570"/>
                <a:gd name="connsiteX4" fmla="*/ 480945 w 542798"/>
                <a:gd name="connsiteY4" fmla="*/ 21 h 209570"/>
                <a:gd name="connsiteX5" fmla="*/ 463229 w 542798"/>
                <a:gd name="connsiteY5" fmla="*/ 2974 h 209570"/>
                <a:gd name="connsiteX6" fmla="*/ 440655 w 542798"/>
                <a:gd name="connsiteY6" fmla="*/ 17452 h 209570"/>
                <a:gd name="connsiteX7" fmla="*/ 437892 w 542798"/>
                <a:gd name="connsiteY7" fmla="*/ 22786 h 209570"/>
                <a:gd name="connsiteX8" fmla="*/ 428558 w 542798"/>
                <a:gd name="connsiteY8" fmla="*/ 57171 h 209570"/>
                <a:gd name="connsiteX9" fmla="*/ 419033 w 542798"/>
                <a:gd name="connsiteY9" fmla="*/ 22690 h 209570"/>
                <a:gd name="connsiteX10" fmla="*/ 416175 w 542798"/>
                <a:gd name="connsiteY10" fmla="*/ 17356 h 209570"/>
                <a:gd name="connsiteX11" fmla="*/ 393601 w 542798"/>
                <a:gd name="connsiteY11" fmla="*/ 2974 h 209570"/>
                <a:gd name="connsiteX12" fmla="*/ 376170 w 542798"/>
                <a:gd name="connsiteY12" fmla="*/ 21 h 209570"/>
                <a:gd name="connsiteX13" fmla="*/ 358454 w 542798"/>
                <a:gd name="connsiteY13" fmla="*/ 2974 h 209570"/>
                <a:gd name="connsiteX14" fmla="*/ 335784 w 542798"/>
                <a:gd name="connsiteY14" fmla="*/ 17452 h 209570"/>
                <a:gd name="connsiteX15" fmla="*/ 333117 w 542798"/>
                <a:gd name="connsiteY15" fmla="*/ 22786 h 209570"/>
                <a:gd name="connsiteX16" fmla="*/ 323592 w 542798"/>
                <a:gd name="connsiteY16" fmla="*/ 58219 h 209570"/>
                <a:gd name="connsiteX17" fmla="*/ 314067 w 542798"/>
                <a:gd name="connsiteY17" fmla="*/ 23071 h 209570"/>
                <a:gd name="connsiteX18" fmla="*/ 311305 w 542798"/>
                <a:gd name="connsiteY18" fmla="*/ 17737 h 209570"/>
                <a:gd name="connsiteX19" fmla="*/ 288636 w 542798"/>
                <a:gd name="connsiteY19" fmla="*/ 3355 h 209570"/>
                <a:gd name="connsiteX20" fmla="*/ 271395 w 542798"/>
                <a:gd name="connsiteY20" fmla="*/ 21 h 209570"/>
                <a:gd name="connsiteX21" fmla="*/ 253679 w 542798"/>
                <a:gd name="connsiteY21" fmla="*/ 2974 h 209570"/>
                <a:gd name="connsiteX22" fmla="*/ 231105 w 542798"/>
                <a:gd name="connsiteY22" fmla="*/ 17452 h 209570"/>
                <a:gd name="connsiteX23" fmla="*/ 228342 w 542798"/>
                <a:gd name="connsiteY23" fmla="*/ 22786 h 209570"/>
                <a:gd name="connsiteX24" fmla="*/ 219008 w 542798"/>
                <a:gd name="connsiteY24" fmla="*/ 57171 h 209570"/>
                <a:gd name="connsiteX25" fmla="*/ 209483 w 542798"/>
                <a:gd name="connsiteY25" fmla="*/ 22690 h 209570"/>
                <a:gd name="connsiteX26" fmla="*/ 206625 w 542798"/>
                <a:gd name="connsiteY26" fmla="*/ 17356 h 209570"/>
                <a:gd name="connsiteX27" fmla="*/ 184051 w 542798"/>
                <a:gd name="connsiteY27" fmla="*/ 2974 h 209570"/>
                <a:gd name="connsiteX28" fmla="*/ 166620 w 542798"/>
                <a:gd name="connsiteY28" fmla="*/ 21 h 209570"/>
                <a:gd name="connsiteX29" fmla="*/ 148904 w 542798"/>
                <a:gd name="connsiteY29" fmla="*/ 2974 h 209570"/>
                <a:gd name="connsiteX30" fmla="*/ 126234 w 542798"/>
                <a:gd name="connsiteY30" fmla="*/ 17452 h 209570"/>
                <a:gd name="connsiteX31" fmla="*/ 123567 w 542798"/>
                <a:gd name="connsiteY31" fmla="*/ 22786 h 209570"/>
                <a:gd name="connsiteX32" fmla="*/ 114042 w 542798"/>
                <a:gd name="connsiteY32" fmla="*/ 58219 h 209570"/>
                <a:gd name="connsiteX33" fmla="*/ 104517 w 542798"/>
                <a:gd name="connsiteY33" fmla="*/ 23071 h 209570"/>
                <a:gd name="connsiteX34" fmla="*/ 101755 w 542798"/>
                <a:gd name="connsiteY34" fmla="*/ 17737 h 209570"/>
                <a:gd name="connsiteX35" fmla="*/ 79086 w 542798"/>
                <a:gd name="connsiteY35" fmla="*/ 3355 h 209570"/>
                <a:gd name="connsiteX36" fmla="*/ 61845 w 542798"/>
                <a:gd name="connsiteY36" fmla="*/ 21 h 209570"/>
                <a:gd name="connsiteX37" fmla="*/ 44129 w 542798"/>
                <a:gd name="connsiteY37" fmla="*/ 2974 h 209570"/>
                <a:gd name="connsiteX38" fmla="*/ 21555 w 542798"/>
                <a:gd name="connsiteY38" fmla="*/ 17452 h 209570"/>
                <a:gd name="connsiteX39" fmla="*/ 18792 w 542798"/>
                <a:gd name="connsiteY39" fmla="*/ 22786 h 209570"/>
                <a:gd name="connsiteX40" fmla="*/ 314 w 542798"/>
                <a:gd name="connsiteY40" fmla="*/ 92413 h 209570"/>
                <a:gd name="connsiteX41" fmla="*/ 7077 w 542798"/>
                <a:gd name="connsiteY41" fmla="*/ 104034 h 209570"/>
                <a:gd name="connsiteX42" fmla="*/ 9553 w 542798"/>
                <a:gd name="connsiteY42" fmla="*/ 104034 h 209570"/>
                <a:gd name="connsiteX43" fmla="*/ 19078 w 542798"/>
                <a:gd name="connsiteY43" fmla="*/ 96985 h 209570"/>
                <a:gd name="connsiteX44" fmla="*/ 33270 w 542798"/>
                <a:gd name="connsiteY44" fmla="*/ 41645 h 209570"/>
                <a:gd name="connsiteX45" fmla="*/ 33270 w 542798"/>
                <a:gd name="connsiteY45" fmla="*/ 209571 h 209570"/>
                <a:gd name="connsiteX46" fmla="*/ 52320 w 542798"/>
                <a:gd name="connsiteY46" fmla="*/ 209571 h 209570"/>
                <a:gd name="connsiteX47" fmla="*/ 52320 w 542798"/>
                <a:gd name="connsiteY47" fmla="*/ 104796 h 209570"/>
                <a:gd name="connsiteX48" fmla="*/ 71370 w 542798"/>
                <a:gd name="connsiteY48" fmla="*/ 104796 h 209570"/>
                <a:gd name="connsiteX49" fmla="*/ 71370 w 542798"/>
                <a:gd name="connsiteY49" fmla="*/ 209571 h 209570"/>
                <a:gd name="connsiteX50" fmla="*/ 90420 w 542798"/>
                <a:gd name="connsiteY50" fmla="*/ 209571 h 209570"/>
                <a:gd name="connsiteX51" fmla="*/ 90420 w 542798"/>
                <a:gd name="connsiteY51" fmla="*/ 42217 h 209570"/>
                <a:gd name="connsiteX52" fmla="*/ 104898 w 542798"/>
                <a:gd name="connsiteY52" fmla="*/ 96890 h 209570"/>
                <a:gd name="connsiteX53" fmla="*/ 114423 w 542798"/>
                <a:gd name="connsiteY53" fmla="*/ 106415 h 209570"/>
                <a:gd name="connsiteX54" fmla="*/ 123948 w 542798"/>
                <a:gd name="connsiteY54" fmla="*/ 96890 h 209570"/>
                <a:gd name="connsiteX55" fmla="*/ 138045 w 542798"/>
                <a:gd name="connsiteY55" fmla="*/ 42217 h 209570"/>
                <a:gd name="connsiteX56" fmla="*/ 138045 w 542798"/>
                <a:gd name="connsiteY56" fmla="*/ 72220 h 209570"/>
                <a:gd name="connsiteX57" fmla="*/ 121662 w 542798"/>
                <a:gd name="connsiteY57" fmla="*/ 133371 h 209570"/>
                <a:gd name="connsiteX58" fmla="*/ 138045 w 542798"/>
                <a:gd name="connsiteY58" fmla="*/ 133371 h 209570"/>
                <a:gd name="connsiteX59" fmla="*/ 138045 w 542798"/>
                <a:gd name="connsiteY59" fmla="*/ 209571 h 209570"/>
                <a:gd name="connsiteX60" fmla="*/ 157095 w 542798"/>
                <a:gd name="connsiteY60" fmla="*/ 209571 h 209570"/>
                <a:gd name="connsiteX61" fmla="*/ 157095 w 542798"/>
                <a:gd name="connsiteY61" fmla="*/ 133371 h 209570"/>
                <a:gd name="connsiteX62" fmla="*/ 176145 w 542798"/>
                <a:gd name="connsiteY62" fmla="*/ 133371 h 209570"/>
                <a:gd name="connsiteX63" fmla="*/ 176145 w 542798"/>
                <a:gd name="connsiteY63" fmla="*/ 209571 h 209570"/>
                <a:gd name="connsiteX64" fmla="*/ 195195 w 542798"/>
                <a:gd name="connsiteY64" fmla="*/ 209571 h 209570"/>
                <a:gd name="connsiteX65" fmla="*/ 195195 w 542798"/>
                <a:gd name="connsiteY65" fmla="*/ 133371 h 209570"/>
                <a:gd name="connsiteX66" fmla="*/ 211578 w 542798"/>
                <a:gd name="connsiteY66" fmla="*/ 133371 h 209570"/>
                <a:gd name="connsiteX67" fmla="*/ 195195 w 542798"/>
                <a:gd name="connsiteY67" fmla="*/ 72220 h 209570"/>
                <a:gd name="connsiteX68" fmla="*/ 195195 w 542798"/>
                <a:gd name="connsiteY68" fmla="*/ 41645 h 209570"/>
                <a:gd name="connsiteX69" fmla="*/ 209769 w 542798"/>
                <a:gd name="connsiteY69" fmla="*/ 96890 h 209570"/>
                <a:gd name="connsiteX70" fmla="*/ 221323 w 542798"/>
                <a:gd name="connsiteY70" fmla="*/ 103814 h 209570"/>
                <a:gd name="connsiteX71" fmla="*/ 228247 w 542798"/>
                <a:gd name="connsiteY71" fmla="*/ 96890 h 209570"/>
                <a:gd name="connsiteX72" fmla="*/ 242820 w 542798"/>
                <a:gd name="connsiteY72" fmla="*/ 41645 h 209570"/>
                <a:gd name="connsiteX73" fmla="*/ 242820 w 542798"/>
                <a:gd name="connsiteY73" fmla="*/ 209571 h 209570"/>
                <a:gd name="connsiteX74" fmla="*/ 261870 w 542798"/>
                <a:gd name="connsiteY74" fmla="*/ 209571 h 209570"/>
                <a:gd name="connsiteX75" fmla="*/ 261870 w 542798"/>
                <a:gd name="connsiteY75" fmla="*/ 104796 h 209570"/>
                <a:gd name="connsiteX76" fmla="*/ 280920 w 542798"/>
                <a:gd name="connsiteY76" fmla="*/ 104796 h 209570"/>
                <a:gd name="connsiteX77" fmla="*/ 280920 w 542798"/>
                <a:gd name="connsiteY77" fmla="*/ 209571 h 209570"/>
                <a:gd name="connsiteX78" fmla="*/ 299970 w 542798"/>
                <a:gd name="connsiteY78" fmla="*/ 209571 h 209570"/>
                <a:gd name="connsiteX79" fmla="*/ 299970 w 542798"/>
                <a:gd name="connsiteY79" fmla="*/ 42217 h 209570"/>
                <a:gd name="connsiteX80" fmla="*/ 314448 w 542798"/>
                <a:gd name="connsiteY80" fmla="*/ 96890 h 209570"/>
                <a:gd name="connsiteX81" fmla="*/ 323973 w 542798"/>
                <a:gd name="connsiteY81" fmla="*/ 106415 h 209570"/>
                <a:gd name="connsiteX82" fmla="*/ 333498 w 542798"/>
                <a:gd name="connsiteY82" fmla="*/ 96890 h 209570"/>
                <a:gd name="connsiteX83" fmla="*/ 347595 w 542798"/>
                <a:gd name="connsiteY83" fmla="*/ 42217 h 209570"/>
                <a:gd name="connsiteX84" fmla="*/ 347595 w 542798"/>
                <a:gd name="connsiteY84" fmla="*/ 72220 h 209570"/>
                <a:gd name="connsiteX85" fmla="*/ 331212 w 542798"/>
                <a:gd name="connsiteY85" fmla="*/ 133371 h 209570"/>
                <a:gd name="connsiteX86" fmla="*/ 347595 w 542798"/>
                <a:gd name="connsiteY86" fmla="*/ 133371 h 209570"/>
                <a:gd name="connsiteX87" fmla="*/ 347595 w 542798"/>
                <a:gd name="connsiteY87" fmla="*/ 209571 h 209570"/>
                <a:gd name="connsiteX88" fmla="*/ 366645 w 542798"/>
                <a:gd name="connsiteY88" fmla="*/ 209571 h 209570"/>
                <a:gd name="connsiteX89" fmla="*/ 366645 w 542798"/>
                <a:gd name="connsiteY89" fmla="*/ 133371 h 209570"/>
                <a:gd name="connsiteX90" fmla="*/ 385695 w 542798"/>
                <a:gd name="connsiteY90" fmla="*/ 133371 h 209570"/>
                <a:gd name="connsiteX91" fmla="*/ 385695 w 542798"/>
                <a:gd name="connsiteY91" fmla="*/ 209571 h 209570"/>
                <a:gd name="connsiteX92" fmla="*/ 404745 w 542798"/>
                <a:gd name="connsiteY92" fmla="*/ 209571 h 209570"/>
                <a:gd name="connsiteX93" fmla="*/ 404745 w 542798"/>
                <a:gd name="connsiteY93" fmla="*/ 133371 h 209570"/>
                <a:gd name="connsiteX94" fmla="*/ 421128 w 542798"/>
                <a:gd name="connsiteY94" fmla="*/ 133371 h 209570"/>
                <a:gd name="connsiteX95" fmla="*/ 404745 w 542798"/>
                <a:gd name="connsiteY95" fmla="*/ 72220 h 209570"/>
                <a:gd name="connsiteX96" fmla="*/ 404745 w 542798"/>
                <a:gd name="connsiteY96" fmla="*/ 41645 h 209570"/>
                <a:gd name="connsiteX97" fmla="*/ 419319 w 542798"/>
                <a:gd name="connsiteY97" fmla="*/ 96890 h 209570"/>
                <a:gd name="connsiteX98" fmla="*/ 430873 w 542798"/>
                <a:gd name="connsiteY98" fmla="*/ 103814 h 209570"/>
                <a:gd name="connsiteX99" fmla="*/ 437797 w 542798"/>
                <a:gd name="connsiteY99" fmla="*/ 96890 h 209570"/>
                <a:gd name="connsiteX100" fmla="*/ 452370 w 542798"/>
                <a:gd name="connsiteY100" fmla="*/ 41645 h 209570"/>
                <a:gd name="connsiteX101" fmla="*/ 452370 w 542798"/>
                <a:gd name="connsiteY101" fmla="*/ 209571 h 209570"/>
                <a:gd name="connsiteX102" fmla="*/ 471420 w 542798"/>
                <a:gd name="connsiteY102" fmla="*/ 209571 h 209570"/>
                <a:gd name="connsiteX103" fmla="*/ 471420 w 542798"/>
                <a:gd name="connsiteY103" fmla="*/ 104796 h 209570"/>
                <a:gd name="connsiteX104" fmla="*/ 490470 w 542798"/>
                <a:gd name="connsiteY104" fmla="*/ 104796 h 209570"/>
                <a:gd name="connsiteX105" fmla="*/ 490470 w 542798"/>
                <a:gd name="connsiteY105" fmla="*/ 209571 h 209570"/>
                <a:gd name="connsiteX106" fmla="*/ 509520 w 542798"/>
                <a:gd name="connsiteY106" fmla="*/ 209571 h 209570"/>
                <a:gd name="connsiteX107" fmla="*/ 509520 w 542798"/>
                <a:gd name="connsiteY107" fmla="*/ 42217 h 209570"/>
                <a:gd name="connsiteX108" fmla="*/ 523998 w 542798"/>
                <a:gd name="connsiteY108" fmla="*/ 96890 h 209570"/>
                <a:gd name="connsiteX109" fmla="*/ 533523 w 542798"/>
                <a:gd name="connsiteY109" fmla="*/ 103939 h 209570"/>
                <a:gd name="connsiteX110" fmla="*/ 536000 w 542798"/>
                <a:gd name="connsiteY110" fmla="*/ 103939 h 209570"/>
                <a:gd name="connsiteX111" fmla="*/ 542397 w 542798"/>
                <a:gd name="connsiteY111" fmla="*/ 92085 h 209570"/>
                <a:gd name="connsiteX112" fmla="*/ 542382 w 542798"/>
                <a:gd name="connsiteY112" fmla="*/ 92032 h 209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542798" h="209570">
                  <a:moveTo>
                    <a:pt x="542382" y="92032"/>
                  </a:moveTo>
                  <a:lnTo>
                    <a:pt x="523998" y="22690"/>
                  </a:lnTo>
                  <a:cubicBezTo>
                    <a:pt x="523489" y="20728"/>
                    <a:pt x="522545" y="18905"/>
                    <a:pt x="521236" y="17356"/>
                  </a:cubicBezTo>
                  <a:cubicBezTo>
                    <a:pt x="514929" y="10830"/>
                    <a:pt x="507158" y="5900"/>
                    <a:pt x="498567" y="2974"/>
                  </a:cubicBezTo>
                  <a:cubicBezTo>
                    <a:pt x="492944" y="843"/>
                    <a:pt x="486956" y="-161"/>
                    <a:pt x="480945" y="21"/>
                  </a:cubicBezTo>
                  <a:cubicBezTo>
                    <a:pt x="474918" y="26"/>
                    <a:pt x="468932" y="1023"/>
                    <a:pt x="463229" y="2974"/>
                  </a:cubicBezTo>
                  <a:cubicBezTo>
                    <a:pt x="454612" y="5836"/>
                    <a:pt x="446851" y="10814"/>
                    <a:pt x="440655" y="17452"/>
                  </a:cubicBezTo>
                  <a:cubicBezTo>
                    <a:pt x="439401" y="19037"/>
                    <a:pt x="438464" y="20847"/>
                    <a:pt x="437892" y="22786"/>
                  </a:cubicBezTo>
                  <a:lnTo>
                    <a:pt x="428558" y="57171"/>
                  </a:lnTo>
                  <a:lnTo>
                    <a:pt x="419033" y="22690"/>
                  </a:lnTo>
                  <a:cubicBezTo>
                    <a:pt x="418469" y="20730"/>
                    <a:pt x="417495" y="18912"/>
                    <a:pt x="416175" y="17356"/>
                  </a:cubicBezTo>
                  <a:cubicBezTo>
                    <a:pt x="409909" y="10825"/>
                    <a:pt x="402168" y="5893"/>
                    <a:pt x="393601" y="2974"/>
                  </a:cubicBezTo>
                  <a:cubicBezTo>
                    <a:pt x="388033" y="883"/>
                    <a:pt x="382116" y="-119"/>
                    <a:pt x="376170" y="21"/>
                  </a:cubicBezTo>
                  <a:cubicBezTo>
                    <a:pt x="370141" y="10"/>
                    <a:pt x="364153" y="1008"/>
                    <a:pt x="358454" y="2974"/>
                  </a:cubicBezTo>
                  <a:cubicBezTo>
                    <a:pt x="349819" y="5858"/>
                    <a:pt x="342033" y="10832"/>
                    <a:pt x="335784" y="17452"/>
                  </a:cubicBezTo>
                  <a:cubicBezTo>
                    <a:pt x="334597" y="19064"/>
                    <a:pt x="333695" y="20868"/>
                    <a:pt x="333117" y="22786"/>
                  </a:cubicBezTo>
                  <a:lnTo>
                    <a:pt x="323592" y="58219"/>
                  </a:lnTo>
                  <a:lnTo>
                    <a:pt x="314067" y="23071"/>
                  </a:lnTo>
                  <a:cubicBezTo>
                    <a:pt x="313558" y="21109"/>
                    <a:pt x="312614" y="19286"/>
                    <a:pt x="311305" y="17737"/>
                  </a:cubicBezTo>
                  <a:cubicBezTo>
                    <a:pt x="304998" y="11211"/>
                    <a:pt x="297227" y="6281"/>
                    <a:pt x="288636" y="3355"/>
                  </a:cubicBezTo>
                  <a:cubicBezTo>
                    <a:pt x="283158" y="1142"/>
                    <a:pt x="277304" y="10"/>
                    <a:pt x="271395" y="21"/>
                  </a:cubicBezTo>
                  <a:cubicBezTo>
                    <a:pt x="265368" y="26"/>
                    <a:pt x="259382" y="1023"/>
                    <a:pt x="253679" y="2974"/>
                  </a:cubicBezTo>
                  <a:cubicBezTo>
                    <a:pt x="245062" y="5836"/>
                    <a:pt x="237301" y="10814"/>
                    <a:pt x="231105" y="17452"/>
                  </a:cubicBezTo>
                  <a:cubicBezTo>
                    <a:pt x="229851" y="19037"/>
                    <a:pt x="228914" y="20847"/>
                    <a:pt x="228342" y="22786"/>
                  </a:cubicBezTo>
                  <a:lnTo>
                    <a:pt x="219008" y="57171"/>
                  </a:lnTo>
                  <a:lnTo>
                    <a:pt x="209483" y="22690"/>
                  </a:lnTo>
                  <a:cubicBezTo>
                    <a:pt x="208919" y="20730"/>
                    <a:pt x="207945" y="18912"/>
                    <a:pt x="206625" y="17356"/>
                  </a:cubicBezTo>
                  <a:cubicBezTo>
                    <a:pt x="200359" y="10825"/>
                    <a:pt x="192618" y="5893"/>
                    <a:pt x="184051" y="2974"/>
                  </a:cubicBezTo>
                  <a:cubicBezTo>
                    <a:pt x="178484" y="883"/>
                    <a:pt x="172566" y="-119"/>
                    <a:pt x="166620" y="21"/>
                  </a:cubicBezTo>
                  <a:cubicBezTo>
                    <a:pt x="160591" y="10"/>
                    <a:pt x="154603" y="1008"/>
                    <a:pt x="148904" y="2974"/>
                  </a:cubicBezTo>
                  <a:cubicBezTo>
                    <a:pt x="140270" y="5858"/>
                    <a:pt x="132483" y="10832"/>
                    <a:pt x="126234" y="17452"/>
                  </a:cubicBezTo>
                  <a:cubicBezTo>
                    <a:pt x="125047" y="19064"/>
                    <a:pt x="124145" y="20868"/>
                    <a:pt x="123567" y="22786"/>
                  </a:cubicBezTo>
                  <a:lnTo>
                    <a:pt x="114042" y="58219"/>
                  </a:lnTo>
                  <a:lnTo>
                    <a:pt x="104517" y="23071"/>
                  </a:lnTo>
                  <a:cubicBezTo>
                    <a:pt x="104008" y="21109"/>
                    <a:pt x="103064" y="19286"/>
                    <a:pt x="101755" y="17737"/>
                  </a:cubicBezTo>
                  <a:cubicBezTo>
                    <a:pt x="95448" y="11211"/>
                    <a:pt x="87677" y="6281"/>
                    <a:pt x="79086" y="3355"/>
                  </a:cubicBezTo>
                  <a:cubicBezTo>
                    <a:pt x="73608" y="1142"/>
                    <a:pt x="67754" y="10"/>
                    <a:pt x="61845" y="21"/>
                  </a:cubicBezTo>
                  <a:cubicBezTo>
                    <a:pt x="55818" y="26"/>
                    <a:pt x="49832" y="1023"/>
                    <a:pt x="44129" y="2974"/>
                  </a:cubicBezTo>
                  <a:cubicBezTo>
                    <a:pt x="35512" y="5836"/>
                    <a:pt x="27751" y="10814"/>
                    <a:pt x="21555" y="17452"/>
                  </a:cubicBezTo>
                  <a:cubicBezTo>
                    <a:pt x="20301" y="19037"/>
                    <a:pt x="19364" y="20847"/>
                    <a:pt x="18792" y="22786"/>
                  </a:cubicBezTo>
                  <a:lnTo>
                    <a:pt x="314" y="92413"/>
                  </a:lnTo>
                  <a:cubicBezTo>
                    <a:pt x="-1017" y="97488"/>
                    <a:pt x="2006" y="102684"/>
                    <a:pt x="7077" y="104034"/>
                  </a:cubicBezTo>
                  <a:lnTo>
                    <a:pt x="9553" y="104034"/>
                  </a:lnTo>
                  <a:cubicBezTo>
                    <a:pt x="13981" y="104185"/>
                    <a:pt x="17928" y="101264"/>
                    <a:pt x="19078" y="96985"/>
                  </a:cubicBezTo>
                  <a:lnTo>
                    <a:pt x="33270" y="41645"/>
                  </a:lnTo>
                  <a:lnTo>
                    <a:pt x="33270" y="209571"/>
                  </a:lnTo>
                  <a:lnTo>
                    <a:pt x="52320" y="209571"/>
                  </a:lnTo>
                  <a:lnTo>
                    <a:pt x="52320" y="104796"/>
                  </a:lnTo>
                  <a:lnTo>
                    <a:pt x="71370" y="104796"/>
                  </a:lnTo>
                  <a:lnTo>
                    <a:pt x="71370" y="209571"/>
                  </a:lnTo>
                  <a:lnTo>
                    <a:pt x="90420" y="209571"/>
                  </a:lnTo>
                  <a:lnTo>
                    <a:pt x="90420" y="42217"/>
                  </a:lnTo>
                  <a:lnTo>
                    <a:pt x="104898" y="96890"/>
                  </a:lnTo>
                  <a:cubicBezTo>
                    <a:pt x="104898" y="102151"/>
                    <a:pt x="109163" y="106415"/>
                    <a:pt x="114423" y="106415"/>
                  </a:cubicBezTo>
                  <a:cubicBezTo>
                    <a:pt x="119684" y="106415"/>
                    <a:pt x="123948" y="102151"/>
                    <a:pt x="123948" y="96890"/>
                  </a:cubicBezTo>
                  <a:lnTo>
                    <a:pt x="138045" y="42217"/>
                  </a:lnTo>
                  <a:lnTo>
                    <a:pt x="138045" y="72220"/>
                  </a:lnTo>
                  <a:lnTo>
                    <a:pt x="121662" y="133371"/>
                  </a:lnTo>
                  <a:lnTo>
                    <a:pt x="138045" y="133371"/>
                  </a:lnTo>
                  <a:lnTo>
                    <a:pt x="138045" y="209571"/>
                  </a:lnTo>
                  <a:lnTo>
                    <a:pt x="157095" y="209571"/>
                  </a:lnTo>
                  <a:lnTo>
                    <a:pt x="157095" y="133371"/>
                  </a:lnTo>
                  <a:lnTo>
                    <a:pt x="176145" y="133371"/>
                  </a:lnTo>
                  <a:lnTo>
                    <a:pt x="176145" y="209571"/>
                  </a:lnTo>
                  <a:lnTo>
                    <a:pt x="195195" y="209571"/>
                  </a:lnTo>
                  <a:lnTo>
                    <a:pt x="195195" y="133371"/>
                  </a:lnTo>
                  <a:lnTo>
                    <a:pt x="211578" y="133371"/>
                  </a:lnTo>
                  <a:lnTo>
                    <a:pt x="195195" y="72220"/>
                  </a:lnTo>
                  <a:lnTo>
                    <a:pt x="195195" y="41645"/>
                  </a:lnTo>
                  <a:lnTo>
                    <a:pt x="209769" y="96890"/>
                  </a:lnTo>
                  <a:cubicBezTo>
                    <a:pt x="211048" y="101993"/>
                    <a:pt x="216221" y="105093"/>
                    <a:pt x="221323" y="103814"/>
                  </a:cubicBezTo>
                  <a:cubicBezTo>
                    <a:pt x="224731" y="102960"/>
                    <a:pt x="227393" y="100298"/>
                    <a:pt x="228247" y="96890"/>
                  </a:cubicBezTo>
                  <a:lnTo>
                    <a:pt x="242820" y="41645"/>
                  </a:lnTo>
                  <a:lnTo>
                    <a:pt x="242820" y="209571"/>
                  </a:lnTo>
                  <a:lnTo>
                    <a:pt x="261870" y="209571"/>
                  </a:lnTo>
                  <a:lnTo>
                    <a:pt x="261870" y="104796"/>
                  </a:lnTo>
                  <a:lnTo>
                    <a:pt x="280920" y="104796"/>
                  </a:lnTo>
                  <a:lnTo>
                    <a:pt x="280920" y="209571"/>
                  </a:lnTo>
                  <a:lnTo>
                    <a:pt x="299970" y="209571"/>
                  </a:lnTo>
                  <a:lnTo>
                    <a:pt x="299970" y="42217"/>
                  </a:lnTo>
                  <a:lnTo>
                    <a:pt x="314448" y="96890"/>
                  </a:lnTo>
                  <a:cubicBezTo>
                    <a:pt x="314448" y="102151"/>
                    <a:pt x="318713" y="106415"/>
                    <a:pt x="323973" y="106415"/>
                  </a:cubicBezTo>
                  <a:cubicBezTo>
                    <a:pt x="329234" y="106415"/>
                    <a:pt x="333498" y="102151"/>
                    <a:pt x="333498" y="96890"/>
                  </a:cubicBezTo>
                  <a:lnTo>
                    <a:pt x="347595" y="42217"/>
                  </a:lnTo>
                  <a:lnTo>
                    <a:pt x="347595" y="72220"/>
                  </a:lnTo>
                  <a:lnTo>
                    <a:pt x="331212" y="133371"/>
                  </a:lnTo>
                  <a:lnTo>
                    <a:pt x="347595" y="133371"/>
                  </a:lnTo>
                  <a:lnTo>
                    <a:pt x="347595" y="209571"/>
                  </a:lnTo>
                  <a:lnTo>
                    <a:pt x="366645" y="209571"/>
                  </a:lnTo>
                  <a:lnTo>
                    <a:pt x="366645" y="133371"/>
                  </a:lnTo>
                  <a:lnTo>
                    <a:pt x="385695" y="133371"/>
                  </a:lnTo>
                  <a:lnTo>
                    <a:pt x="385695" y="209571"/>
                  </a:lnTo>
                  <a:lnTo>
                    <a:pt x="404745" y="209571"/>
                  </a:lnTo>
                  <a:lnTo>
                    <a:pt x="404745" y="133371"/>
                  </a:lnTo>
                  <a:lnTo>
                    <a:pt x="421128" y="133371"/>
                  </a:lnTo>
                  <a:lnTo>
                    <a:pt x="404745" y="72220"/>
                  </a:lnTo>
                  <a:lnTo>
                    <a:pt x="404745" y="41645"/>
                  </a:lnTo>
                  <a:lnTo>
                    <a:pt x="419319" y="96890"/>
                  </a:lnTo>
                  <a:cubicBezTo>
                    <a:pt x="420598" y="101993"/>
                    <a:pt x="425771" y="105093"/>
                    <a:pt x="430873" y="103814"/>
                  </a:cubicBezTo>
                  <a:cubicBezTo>
                    <a:pt x="434281" y="102960"/>
                    <a:pt x="436943" y="100298"/>
                    <a:pt x="437797" y="96890"/>
                  </a:cubicBezTo>
                  <a:lnTo>
                    <a:pt x="452370" y="41645"/>
                  </a:lnTo>
                  <a:lnTo>
                    <a:pt x="452370" y="209571"/>
                  </a:lnTo>
                  <a:lnTo>
                    <a:pt x="471420" y="209571"/>
                  </a:lnTo>
                  <a:lnTo>
                    <a:pt x="471420" y="104796"/>
                  </a:lnTo>
                  <a:lnTo>
                    <a:pt x="490470" y="104796"/>
                  </a:lnTo>
                  <a:lnTo>
                    <a:pt x="490470" y="209571"/>
                  </a:lnTo>
                  <a:lnTo>
                    <a:pt x="509520" y="209571"/>
                  </a:lnTo>
                  <a:lnTo>
                    <a:pt x="509520" y="42217"/>
                  </a:lnTo>
                  <a:lnTo>
                    <a:pt x="523998" y="96890"/>
                  </a:lnTo>
                  <a:cubicBezTo>
                    <a:pt x="525148" y="101169"/>
                    <a:pt x="529095" y="104090"/>
                    <a:pt x="533523" y="103939"/>
                  </a:cubicBezTo>
                  <a:cubicBezTo>
                    <a:pt x="534346" y="104032"/>
                    <a:pt x="535177" y="104032"/>
                    <a:pt x="536000" y="103939"/>
                  </a:cubicBezTo>
                  <a:cubicBezTo>
                    <a:pt x="541039" y="102432"/>
                    <a:pt x="543904" y="97125"/>
                    <a:pt x="542397" y="92085"/>
                  </a:cubicBezTo>
                  <a:cubicBezTo>
                    <a:pt x="542392" y="92067"/>
                    <a:pt x="542387" y="92050"/>
                    <a:pt x="542382" y="92032"/>
                  </a:cubicBezTo>
                  <a:close/>
                </a:path>
              </a:pathLst>
            </a:custGeom>
            <a:grp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86F6A63-42A2-9633-4910-594035D4465E}"/>
                </a:ext>
              </a:extLst>
            </p:cNvPr>
            <p:cNvSpPr/>
            <p:nvPr/>
          </p:nvSpPr>
          <p:spPr>
            <a:xfrm>
              <a:off x="9801549" y="2110659"/>
              <a:ext cx="47625" cy="47625"/>
            </a:xfrm>
            <a:custGeom>
              <a:avLst/>
              <a:gdLst>
                <a:gd name="connsiteX0" fmla="*/ 23813 w 47625"/>
                <a:gd name="connsiteY0" fmla="*/ 47625 h 47625"/>
                <a:gd name="connsiteX1" fmla="*/ 47625 w 47625"/>
                <a:gd name="connsiteY1" fmla="*/ 23813 h 47625"/>
                <a:gd name="connsiteX2" fmla="*/ 23813 w 47625"/>
                <a:gd name="connsiteY2" fmla="*/ 0 h 47625"/>
                <a:gd name="connsiteX3" fmla="*/ 0 w 47625"/>
                <a:gd name="connsiteY3" fmla="*/ 23813 h 47625"/>
                <a:gd name="connsiteX4" fmla="*/ 23813 w 47625"/>
                <a:gd name="connsiteY4" fmla="*/ 4762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3813" y="47625"/>
                  </a:moveTo>
                  <a:cubicBezTo>
                    <a:pt x="36964" y="47625"/>
                    <a:pt x="47625" y="36964"/>
                    <a:pt x="47625" y="23813"/>
                  </a:cubicBezTo>
                  <a:cubicBezTo>
                    <a:pt x="47625" y="10661"/>
                    <a:pt x="36964" y="0"/>
                    <a:pt x="23813" y="0"/>
                  </a:cubicBezTo>
                  <a:cubicBezTo>
                    <a:pt x="10661" y="0"/>
                    <a:pt x="0" y="10661"/>
                    <a:pt x="0" y="23813"/>
                  </a:cubicBezTo>
                  <a:cubicBezTo>
                    <a:pt x="0" y="36964"/>
                    <a:pt x="10661" y="47625"/>
                    <a:pt x="23813" y="47625"/>
                  </a:cubicBezTo>
                  <a:close/>
                </a:path>
              </a:pathLst>
            </a:custGeom>
            <a:grp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4735D540-773F-B82C-A491-941C8E97478B}"/>
                </a:ext>
              </a:extLst>
            </p:cNvPr>
            <p:cNvSpPr/>
            <p:nvPr/>
          </p:nvSpPr>
          <p:spPr>
            <a:xfrm>
              <a:off x="9906324" y="2110659"/>
              <a:ext cx="47625" cy="47625"/>
            </a:xfrm>
            <a:custGeom>
              <a:avLst/>
              <a:gdLst>
                <a:gd name="connsiteX0" fmla="*/ 23813 w 47625"/>
                <a:gd name="connsiteY0" fmla="*/ 47625 h 47625"/>
                <a:gd name="connsiteX1" fmla="*/ 47625 w 47625"/>
                <a:gd name="connsiteY1" fmla="*/ 23813 h 47625"/>
                <a:gd name="connsiteX2" fmla="*/ 23813 w 47625"/>
                <a:gd name="connsiteY2" fmla="*/ 0 h 47625"/>
                <a:gd name="connsiteX3" fmla="*/ 0 w 47625"/>
                <a:gd name="connsiteY3" fmla="*/ 23813 h 47625"/>
                <a:gd name="connsiteX4" fmla="*/ 23813 w 47625"/>
                <a:gd name="connsiteY4" fmla="*/ 4762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3813" y="47625"/>
                  </a:moveTo>
                  <a:cubicBezTo>
                    <a:pt x="36964" y="47625"/>
                    <a:pt x="47625" y="36964"/>
                    <a:pt x="47625" y="23813"/>
                  </a:cubicBezTo>
                  <a:cubicBezTo>
                    <a:pt x="47625" y="10661"/>
                    <a:pt x="36964" y="0"/>
                    <a:pt x="23813" y="0"/>
                  </a:cubicBezTo>
                  <a:cubicBezTo>
                    <a:pt x="10661" y="0"/>
                    <a:pt x="0" y="10661"/>
                    <a:pt x="0" y="23813"/>
                  </a:cubicBezTo>
                  <a:cubicBezTo>
                    <a:pt x="0" y="36964"/>
                    <a:pt x="10661" y="47625"/>
                    <a:pt x="23813" y="47625"/>
                  </a:cubicBezTo>
                  <a:close/>
                </a:path>
              </a:pathLst>
            </a:custGeom>
            <a:grp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F59F04A7-C16E-D147-3192-DB2C2A2B807C}"/>
                </a:ext>
              </a:extLst>
            </p:cNvPr>
            <p:cNvSpPr/>
            <p:nvPr/>
          </p:nvSpPr>
          <p:spPr>
            <a:xfrm>
              <a:off x="9696774" y="2110659"/>
              <a:ext cx="47625" cy="47625"/>
            </a:xfrm>
            <a:custGeom>
              <a:avLst/>
              <a:gdLst>
                <a:gd name="connsiteX0" fmla="*/ 23813 w 47625"/>
                <a:gd name="connsiteY0" fmla="*/ 47625 h 47625"/>
                <a:gd name="connsiteX1" fmla="*/ 47625 w 47625"/>
                <a:gd name="connsiteY1" fmla="*/ 23813 h 47625"/>
                <a:gd name="connsiteX2" fmla="*/ 23813 w 47625"/>
                <a:gd name="connsiteY2" fmla="*/ 0 h 47625"/>
                <a:gd name="connsiteX3" fmla="*/ 0 w 47625"/>
                <a:gd name="connsiteY3" fmla="*/ 23813 h 47625"/>
                <a:gd name="connsiteX4" fmla="*/ 23813 w 47625"/>
                <a:gd name="connsiteY4" fmla="*/ 4762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3813" y="47625"/>
                  </a:moveTo>
                  <a:cubicBezTo>
                    <a:pt x="36964" y="47625"/>
                    <a:pt x="47625" y="36964"/>
                    <a:pt x="47625" y="23813"/>
                  </a:cubicBezTo>
                  <a:cubicBezTo>
                    <a:pt x="47625" y="10661"/>
                    <a:pt x="36964" y="0"/>
                    <a:pt x="23813" y="0"/>
                  </a:cubicBezTo>
                  <a:cubicBezTo>
                    <a:pt x="10661" y="0"/>
                    <a:pt x="0" y="10661"/>
                    <a:pt x="0" y="23813"/>
                  </a:cubicBezTo>
                  <a:cubicBezTo>
                    <a:pt x="0" y="36964"/>
                    <a:pt x="10661" y="47625"/>
                    <a:pt x="23813" y="47625"/>
                  </a:cubicBezTo>
                  <a:close/>
                </a:path>
              </a:pathLst>
            </a:custGeom>
            <a:grp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730D9DF2-80E4-813B-334B-004F982B331B}"/>
                </a:ext>
              </a:extLst>
            </p:cNvPr>
            <p:cNvSpPr/>
            <p:nvPr/>
          </p:nvSpPr>
          <p:spPr>
            <a:xfrm>
              <a:off x="9658741" y="2167786"/>
              <a:ext cx="333431" cy="209572"/>
            </a:xfrm>
            <a:custGeom>
              <a:avLst/>
              <a:gdLst>
                <a:gd name="connsiteX0" fmla="*/ 333022 w 333431"/>
                <a:gd name="connsiteY0" fmla="*/ 92034 h 209572"/>
                <a:gd name="connsiteX1" fmla="*/ 314639 w 333431"/>
                <a:gd name="connsiteY1" fmla="*/ 22692 h 209572"/>
                <a:gd name="connsiteX2" fmla="*/ 311781 w 333431"/>
                <a:gd name="connsiteY2" fmla="*/ 17358 h 209572"/>
                <a:gd name="connsiteX3" fmla="*/ 289207 w 333431"/>
                <a:gd name="connsiteY3" fmla="*/ 2975 h 209572"/>
                <a:gd name="connsiteX4" fmla="*/ 271395 w 333431"/>
                <a:gd name="connsiteY4" fmla="*/ 23 h 209572"/>
                <a:gd name="connsiteX5" fmla="*/ 253679 w 333431"/>
                <a:gd name="connsiteY5" fmla="*/ 2975 h 209572"/>
                <a:gd name="connsiteX6" fmla="*/ 231009 w 333431"/>
                <a:gd name="connsiteY6" fmla="*/ 17453 h 209572"/>
                <a:gd name="connsiteX7" fmla="*/ 228342 w 333431"/>
                <a:gd name="connsiteY7" fmla="*/ 22787 h 209572"/>
                <a:gd name="connsiteX8" fmla="*/ 218817 w 333431"/>
                <a:gd name="connsiteY8" fmla="*/ 58220 h 209572"/>
                <a:gd name="connsiteX9" fmla="*/ 209292 w 333431"/>
                <a:gd name="connsiteY9" fmla="*/ 23073 h 209572"/>
                <a:gd name="connsiteX10" fmla="*/ 206530 w 333431"/>
                <a:gd name="connsiteY10" fmla="*/ 17739 h 209572"/>
                <a:gd name="connsiteX11" fmla="*/ 183861 w 333431"/>
                <a:gd name="connsiteY11" fmla="*/ 3356 h 209572"/>
                <a:gd name="connsiteX12" fmla="*/ 166620 w 333431"/>
                <a:gd name="connsiteY12" fmla="*/ 23 h 209572"/>
                <a:gd name="connsiteX13" fmla="*/ 148904 w 333431"/>
                <a:gd name="connsiteY13" fmla="*/ 2975 h 209572"/>
                <a:gd name="connsiteX14" fmla="*/ 126330 w 333431"/>
                <a:gd name="connsiteY14" fmla="*/ 17453 h 209572"/>
                <a:gd name="connsiteX15" fmla="*/ 123567 w 333431"/>
                <a:gd name="connsiteY15" fmla="*/ 22787 h 209572"/>
                <a:gd name="connsiteX16" fmla="*/ 114233 w 333431"/>
                <a:gd name="connsiteY16" fmla="*/ 57173 h 209572"/>
                <a:gd name="connsiteX17" fmla="*/ 104708 w 333431"/>
                <a:gd name="connsiteY17" fmla="*/ 22692 h 209572"/>
                <a:gd name="connsiteX18" fmla="*/ 101850 w 333431"/>
                <a:gd name="connsiteY18" fmla="*/ 17358 h 209572"/>
                <a:gd name="connsiteX19" fmla="*/ 79276 w 333431"/>
                <a:gd name="connsiteY19" fmla="*/ 2975 h 209572"/>
                <a:gd name="connsiteX20" fmla="*/ 61845 w 333431"/>
                <a:gd name="connsiteY20" fmla="*/ 23 h 209572"/>
                <a:gd name="connsiteX21" fmla="*/ 44129 w 333431"/>
                <a:gd name="connsiteY21" fmla="*/ 2975 h 209572"/>
                <a:gd name="connsiteX22" fmla="*/ 21459 w 333431"/>
                <a:gd name="connsiteY22" fmla="*/ 17453 h 209572"/>
                <a:gd name="connsiteX23" fmla="*/ 18792 w 333431"/>
                <a:gd name="connsiteY23" fmla="*/ 22787 h 209572"/>
                <a:gd name="connsiteX24" fmla="*/ 314 w 333431"/>
                <a:gd name="connsiteY24" fmla="*/ 92415 h 209572"/>
                <a:gd name="connsiteX25" fmla="*/ 7077 w 333431"/>
                <a:gd name="connsiteY25" fmla="*/ 104036 h 209572"/>
                <a:gd name="connsiteX26" fmla="*/ 9553 w 333431"/>
                <a:gd name="connsiteY26" fmla="*/ 104036 h 209572"/>
                <a:gd name="connsiteX27" fmla="*/ 19078 w 333431"/>
                <a:gd name="connsiteY27" fmla="*/ 96987 h 209572"/>
                <a:gd name="connsiteX28" fmla="*/ 33270 w 333431"/>
                <a:gd name="connsiteY28" fmla="*/ 42218 h 209572"/>
                <a:gd name="connsiteX29" fmla="*/ 33270 w 333431"/>
                <a:gd name="connsiteY29" fmla="*/ 72222 h 209572"/>
                <a:gd name="connsiteX30" fmla="*/ 16887 w 333431"/>
                <a:gd name="connsiteY30" fmla="*/ 133373 h 209572"/>
                <a:gd name="connsiteX31" fmla="*/ 33270 w 333431"/>
                <a:gd name="connsiteY31" fmla="*/ 133373 h 209572"/>
                <a:gd name="connsiteX32" fmla="*/ 33270 w 333431"/>
                <a:gd name="connsiteY32" fmla="*/ 209573 h 209572"/>
                <a:gd name="connsiteX33" fmla="*/ 52320 w 333431"/>
                <a:gd name="connsiteY33" fmla="*/ 209573 h 209572"/>
                <a:gd name="connsiteX34" fmla="*/ 52320 w 333431"/>
                <a:gd name="connsiteY34" fmla="*/ 133373 h 209572"/>
                <a:gd name="connsiteX35" fmla="*/ 71370 w 333431"/>
                <a:gd name="connsiteY35" fmla="*/ 133373 h 209572"/>
                <a:gd name="connsiteX36" fmla="*/ 71370 w 333431"/>
                <a:gd name="connsiteY36" fmla="*/ 209573 h 209572"/>
                <a:gd name="connsiteX37" fmla="*/ 90420 w 333431"/>
                <a:gd name="connsiteY37" fmla="*/ 209573 h 209572"/>
                <a:gd name="connsiteX38" fmla="*/ 90420 w 333431"/>
                <a:gd name="connsiteY38" fmla="*/ 133373 h 209572"/>
                <a:gd name="connsiteX39" fmla="*/ 106803 w 333431"/>
                <a:gd name="connsiteY39" fmla="*/ 133373 h 209572"/>
                <a:gd name="connsiteX40" fmla="*/ 90420 w 333431"/>
                <a:gd name="connsiteY40" fmla="*/ 72222 h 209572"/>
                <a:gd name="connsiteX41" fmla="*/ 90420 w 333431"/>
                <a:gd name="connsiteY41" fmla="*/ 41647 h 209572"/>
                <a:gd name="connsiteX42" fmla="*/ 104994 w 333431"/>
                <a:gd name="connsiteY42" fmla="*/ 96892 h 209572"/>
                <a:gd name="connsiteX43" fmla="*/ 116548 w 333431"/>
                <a:gd name="connsiteY43" fmla="*/ 103816 h 209572"/>
                <a:gd name="connsiteX44" fmla="*/ 123472 w 333431"/>
                <a:gd name="connsiteY44" fmla="*/ 96892 h 209572"/>
                <a:gd name="connsiteX45" fmla="*/ 138045 w 333431"/>
                <a:gd name="connsiteY45" fmla="*/ 41647 h 209572"/>
                <a:gd name="connsiteX46" fmla="*/ 138045 w 333431"/>
                <a:gd name="connsiteY46" fmla="*/ 209573 h 209572"/>
                <a:gd name="connsiteX47" fmla="*/ 157095 w 333431"/>
                <a:gd name="connsiteY47" fmla="*/ 209573 h 209572"/>
                <a:gd name="connsiteX48" fmla="*/ 157095 w 333431"/>
                <a:gd name="connsiteY48" fmla="*/ 104798 h 209572"/>
                <a:gd name="connsiteX49" fmla="*/ 176145 w 333431"/>
                <a:gd name="connsiteY49" fmla="*/ 104798 h 209572"/>
                <a:gd name="connsiteX50" fmla="*/ 176145 w 333431"/>
                <a:gd name="connsiteY50" fmla="*/ 209573 h 209572"/>
                <a:gd name="connsiteX51" fmla="*/ 195195 w 333431"/>
                <a:gd name="connsiteY51" fmla="*/ 209573 h 209572"/>
                <a:gd name="connsiteX52" fmla="*/ 195195 w 333431"/>
                <a:gd name="connsiteY52" fmla="*/ 42218 h 209572"/>
                <a:gd name="connsiteX53" fmla="*/ 209673 w 333431"/>
                <a:gd name="connsiteY53" fmla="*/ 96892 h 209572"/>
                <a:gd name="connsiteX54" fmla="*/ 219198 w 333431"/>
                <a:gd name="connsiteY54" fmla="*/ 106417 h 209572"/>
                <a:gd name="connsiteX55" fmla="*/ 228723 w 333431"/>
                <a:gd name="connsiteY55" fmla="*/ 96892 h 209572"/>
                <a:gd name="connsiteX56" fmla="*/ 242820 w 333431"/>
                <a:gd name="connsiteY56" fmla="*/ 42218 h 209572"/>
                <a:gd name="connsiteX57" fmla="*/ 242820 w 333431"/>
                <a:gd name="connsiteY57" fmla="*/ 72222 h 209572"/>
                <a:gd name="connsiteX58" fmla="*/ 226437 w 333431"/>
                <a:gd name="connsiteY58" fmla="*/ 133373 h 209572"/>
                <a:gd name="connsiteX59" fmla="*/ 242820 w 333431"/>
                <a:gd name="connsiteY59" fmla="*/ 133373 h 209572"/>
                <a:gd name="connsiteX60" fmla="*/ 242820 w 333431"/>
                <a:gd name="connsiteY60" fmla="*/ 209573 h 209572"/>
                <a:gd name="connsiteX61" fmla="*/ 261870 w 333431"/>
                <a:gd name="connsiteY61" fmla="*/ 209573 h 209572"/>
                <a:gd name="connsiteX62" fmla="*/ 261870 w 333431"/>
                <a:gd name="connsiteY62" fmla="*/ 133373 h 209572"/>
                <a:gd name="connsiteX63" fmla="*/ 280920 w 333431"/>
                <a:gd name="connsiteY63" fmla="*/ 133373 h 209572"/>
                <a:gd name="connsiteX64" fmla="*/ 280920 w 333431"/>
                <a:gd name="connsiteY64" fmla="*/ 209573 h 209572"/>
                <a:gd name="connsiteX65" fmla="*/ 299970 w 333431"/>
                <a:gd name="connsiteY65" fmla="*/ 209573 h 209572"/>
                <a:gd name="connsiteX66" fmla="*/ 299970 w 333431"/>
                <a:gd name="connsiteY66" fmla="*/ 133373 h 209572"/>
                <a:gd name="connsiteX67" fmla="*/ 316353 w 333431"/>
                <a:gd name="connsiteY67" fmla="*/ 133373 h 209572"/>
                <a:gd name="connsiteX68" fmla="*/ 299970 w 333431"/>
                <a:gd name="connsiteY68" fmla="*/ 72222 h 209572"/>
                <a:gd name="connsiteX69" fmla="*/ 299970 w 333431"/>
                <a:gd name="connsiteY69" fmla="*/ 41647 h 209572"/>
                <a:gd name="connsiteX70" fmla="*/ 314544 w 333431"/>
                <a:gd name="connsiteY70" fmla="*/ 96892 h 209572"/>
                <a:gd name="connsiteX71" fmla="*/ 324069 w 333431"/>
                <a:gd name="connsiteY71" fmla="*/ 103940 h 209572"/>
                <a:gd name="connsiteX72" fmla="*/ 326545 w 333431"/>
                <a:gd name="connsiteY72" fmla="*/ 103940 h 209572"/>
                <a:gd name="connsiteX73" fmla="*/ 333055 w 333431"/>
                <a:gd name="connsiteY73" fmla="*/ 92147 h 209572"/>
                <a:gd name="connsiteX74" fmla="*/ 333022 w 333431"/>
                <a:gd name="connsiteY74" fmla="*/ 92034 h 209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33431" h="209572">
                  <a:moveTo>
                    <a:pt x="333022" y="92034"/>
                  </a:moveTo>
                  <a:lnTo>
                    <a:pt x="314639" y="22692"/>
                  </a:lnTo>
                  <a:cubicBezTo>
                    <a:pt x="314075" y="20732"/>
                    <a:pt x="313101" y="18914"/>
                    <a:pt x="311781" y="17358"/>
                  </a:cubicBezTo>
                  <a:cubicBezTo>
                    <a:pt x="305515" y="10828"/>
                    <a:pt x="297774" y="5895"/>
                    <a:pt x="289207" y="2975"/>
                  </a:cubicBezTo>
                  <a:cubicBezTo>
                    <a:pt x="283520" y="836"/>
                    <a:pt x="277468" y="-167"/>
                    <a:pt x="271395" y="23"/>
                  </a:cubicBezTo>
                  <a:cubicBezTo>
                    <a:pt x="265366" y="11"/>
                    <a:pt x="259378" y="1009"/>
                    <a:pt x="253679" y="2975"/>
                  </a:cubicBezTo>
                  <a:cubicBezTo>
                    <a:pt x="245045" y="5860"/>
                    <a:pt x="237258" y="10833"/>
                    <a:pt x="231009" y="17453"/>
                  </a:cubicBezTo>
                  <a:cubicBezTo>
                    <a:pt x="229822" y="19066"/>
                    <a:pt x="228920" y="20870"/>
                    <a:pt x="228342" y="22787"/>
                  </a:cubicBezTo>
                  <a:lnTo>
                    <a:pt x="218817" y="58220"/>
                  </a:lnTo>
                  <a:lnTo>
                    <a:pt x="209292" y="23073"/>
                  </a:lnTo>
                  <a:cubicBezTo>
                    <a:pt x="208783" y="21111"/>
                    <a:pt x="207839" y="19288"/>
                    <a:pt x="206530" y="17739"/>
                  </a:cubicBezTo>
                  <a:cubicBezTo>
                    <a:pt x="200223" y="11213"/>
                    <a:pt x="192452" y="6282"/>
                    <a:pt x="183861" y="3356"/>
                  </a:cubicBezTo>
                  <a:cubicBezTo>
                    <a:pt x="178383" y="1144"/>
                    <a:pt x="172529" y="12"/>
                    <a:pt x="166620" y="23"/>
                  </a:cubicBezTo>
                  <a:cubicBezTo>
                    <a:pt x="160593" y="27"/>
                    <a:pt x="154607" y="1025"/>
                    <a:pt x="148904" y="2975"/>
                  </a:cubicBezTo>
                  <a:cubicBezTo>
                    <a:pt x="140287" y="5838"/>
                    <a:pt x="132526" y="10815"/>
                    <a:pt x="126330" y="17453"/>
                  </a:cubicBezTo>
                  <a:cubicBezTo>
                    <a:pt x="125076" y="19038"/>
                    <a:pt x="124139" y="20849"/>
                    <a:pt x="123567" y="22787"/>
                  </a:cubicBezTo>
                  <a:lnTo>
                    <a:pt x="114233" y="57173"/>
                  </a:lnTo>
                  <a:lnTo>
                    <a:pt x="104708" y="22692"/>
                  </a:lnTo>
                  <a:cubicBezTo>
                    <a:pt x="104144" y="20732"/>
                    <a:pt x="103170" y="18914"/>
                    <a:pt x="101850" y="17358"/>
                  </a:cubicBezTo>
                  <a:cubicBezTo>
                    <a:pt x="95584" y="10828"/>
                    <a:pt x="87843" y="5895"/>
                    <a:pt x="79276" y="2975"/>
                  </a:cubicBezTo>
                  <a:cubicBezTo>
                    <a:pt x="73709" y="885"/>
                    <a:pt x="67791" y="-117"/>
                    <a:pt x="61845" y="23"/>
                  </a:cubicBezTo>
                  <a:cubicBezTo>
                    <a:pt x="55816" y="11"/>
                    <a:pt x="49828" y="1009"/>
                    <a:pt x="44129" y="2975"/>
                  </a:cubicBezTo>
                  <a:cubicBezTo>
                    <a:pt x="35495" y="5860"/>
                    <a:pt x="27708" y="10833"/>
                    <a:pt x="21459" y="17453"/>
                  </a:cubicBezTo>
                  <a:cubicBezTo>
                    <a:pt x="20272" y="19066"/>
                    <a:pt x="19370" y="20870"/>
                    <a:pt x="18792" y="22787"/>
                  </a:cubicBezTo>
                  <a:lnTo>
                    <a:pt x="314" y="92415"/>
                  </a:lnTo>
                  <a:cubicBezTo>
                    <a:pt x="-1017" y="97490"/>
                    <a:pt x="2006" y="102686"/>
                    <a:pt x="7077" y="104036"/>
                  </a:cubicBezTo>
                  <a:cubicBezTo>
                    <a:pt x="7899" y="104129"/>
                    <a:pt x="8730" y="104129"/>
                    <a:pt x="9553" y="104036"/>
                  </a:cubicBezTo>
                  <a:cubicBezTo>
                    <a:pt x="13981" y="104187"/>
                    <a:pt x="17928" y="101266"/>
                    <a:pt x="19078" y="96987"/>
                  </a:cubicBezTo>
                  <a:lnTo>
                    <a:pt x="33270" y="42218"/>
                  </a:lnTo>
                  <a:lnTo>
                    <a:pt x="33270" y="72222"/>
                  </a:lnTo>
                  <a:lnTo>
                    <a:pt x="16887" y="133373"/>
                  </a:lnTo>
                  <a:lnTo>
                    <a:pt x="33270" y="133373"/>
                  </a:lnTo>
                  <a:lnTo>
                    <a:pt x="33270" y="209573"/>
                  </a:lnTo>
                  <a:lnTo>
                    <a:pt x="52320" y="209573"/>
                  </a:lnTo>
                  <a:lnTo>
                    <a:pt x="52320" y="133373"/>
                  </a:lnTo>
                  <a:lnTo>
                    <a:pt x="71370" y="133373"/>
                  </a:lnTo>
                  <a:lnTo>
                    <a:pt x="71370" y="209573"/>
                  </a:lnTo>
                  <a:lnTo>
                    <a:pt x="90420" y="209573"/>
                  </a:lnTo>
                  <a:lnTo>
                    <a:pt x="90420" y="133373"/>
                  </a:lnTo>
                  <a:lnTo>
                    <a:pt x="106803" y="133373"/>
                  </a:lnTo>
                  <a:lnTo>
                    <a:pt x="90420" y="72222"/>
                  </a:lnTo>
                  <a:lnTo>
                    <a:pt x="90420" y="41647"/>
                  </a:lnTo>
                  <a:lnTo>
                    <a:pt x="104994" y="96892"/>
                  </a:lnTo>
                  <a:cubicBezTo>
                    <a:pt x="106273" y="101994"/>
                    <a:pt x="111446" y="105095"/>
                    <a:pt x="116548" y="103816"/>
                  </a:cubicBezTo>
                  <a:cubicBezTo>
                    <a:pt x="119956" y="102961"/>
                    <a:pt x="122618" y="100300"/>
                    <a:pt x="123472" y="96892"/>
                  </a:cubicBezTo>
                  <a:lnTo>
                    <a:pt x="138045" y="41647"/>
                  </a:lnTo>
                  <a:lnTo>
                    <a:pt x="138045" y="209573"/>
                  </a:lnTo>
                  <a:lnTo>
                    <a:pt x="157095" y="209573"/>
                  </a:lnTo>
                  <a:lnTo>
                    <a:pt x="157095" y="104798"/>
                  </a:lnTo>
                  <a:lnTo>
                    <a:pt x="176145" y="104798"/>
                  </a:lnTo>
                  <a:lnTo>
                    <a:pt x="176145" y="209573"/>
                  </a:lnTo>
                  <a:lnTo>
                    <a:pt x="195195" y="209573"/>
                  </a:lnTo>
                  <a:lnTo>
                    <a:pt x="195195" y="42218"/>
                  </a:lnTo>
                  <a:lnTo>
                    <a:pt x="209673" y="96892"/>
                  </a:lnTo>
                  <a:cubicBezTo>
                    <a:pt x="209673" y="102152"/>
                    <a:pt x="213938" y="106417"/>
                    <a:pt x="219198" y="106417"/>
                  </a:cubicBezTo>
                  <a:cubicBezTo>
                    <a:pt x="224459" y="106417"/>
                    <a:pt x="228723" y="102152"/>
                    <a:pt x="228723" y="96892"/>
                  </a:cubicBezTo>
                  <a:lnTo>
                    <a:pt x="242820" y="42218"/>
                  </a:lnTo>
                  <a:lnTo>
                    <a:pt x="242820" y="72222"/>
                  </a:lnTo>
                  <a:lnTo>
                    <a:pt x="226437" y="133373"/>
                  </a:lnTo>
                  <a:lnTo>
                    <a:pt x="242820" y="133373"/>
                  </a:lnTo>
                  <a:lnTo>
                    <a:pt x="242820" y="209573"/>
                  </a:lnTo>
                  <a:lnTo>
                    <a:pt x="261870" y="209573"/>
                  </a:lnTo>
                  <a:lnTo>
                    <a:pt x="261870" y="133373"/>
                  </a:lnTo>
                  <a:lnTo>
                    <a:pt x="280920" y="133373"/>
                  </a:lnTo>
                  <a:lnTo>
                    <a:pt x="280920" y="209573"/>
                  </a:lnTo>
                  <a:lnTo>
                    <a:pt x="299970" y="209573"/>
                  </a:lnTo>
                  <a:lnTo>
                    <a:pt x="299970" y="133373"/>
                  </a:lnTo>
                  <a:lnTo>
                    <a:pt x="316353" y="133373"/>
                  </a:lnTo>
                  <a:lnTo>
                    <a:pt x="299970" y="72222"/>
                  </a:lnTo>
                  <a:lnTo>
                    <a:pt x="299970" y="41647"/>
                  </a:lnTo>
                  <a:lnTo>
                    <a:pt x="314544" y="96892"/>
                  </a:lnTo>
                  <a:cubicBezTo>
                    <a:pt x="315693" y="101170"/>
                    <a:pt x="319640" y="104092"/>
                    <a:pt x="324069" y="103940"/>
                  </a:cubicBezTo>
                  <a:lnTo>
                    <a:pt x="326545" y="103940"/>
                  </a:lnTo>
                  <a:cubicBezTo>
                    <a:pt x="331599" y="102482"/>
                    <a:pt x="334515" y="97202"/>
                    <a:pt x="333055" y="92147"/>
                  </a:cubicBezTo>
                  <a:cubicBezTo>
                    <a:pt x="333045" y="92110"/>
                    <a:pt x="333033" y="92072"/>
                    <a:pt x="333022" y="92034"/>
                  </a:cubicBezTo>
                  <a:close/>
                </a:path>
              </a:pathLst>
            </a:custGeom>
            <a:grpFill/>
            <a:ln w="9525" cap="flat">
              <a:noFill/>
              <a:prstDash val="solid"/>
              <a:miter/>
            </a:ln>
          </p:spPr>
          <p:txBody>
            <a:bodyPr rtlCol="0" anchor="ctr"/>
            <a:lstStyle/>
            <a:p>
              <a:endParaRPr lang="en-GB"/>
            </a:p>
          </p:txBody>
        </p:sp>
      </p:grpSp>
      <p:pic>
        <p:nvPicPr>
          <p:cNvPr id="49" name="Graphic 48" descr="Group of people with solid fill">
            <a:extLst>
              <a:ext uri="{FF2B5EF4-FFF2-40B4-BE49-F238E27FC236}">
                <a16:creationId xmlns:a16="http://schemas.microsoft.com/office/drawing/2014/main" id="{30C4710A-2620-11B2-511A-8FA6570131E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58637" y="4883950"/>
            <a:ext cx="914400" cy="914400"/>
          </a:xfrm>
          <a:prstGeom prst="rect">
            <a:avLst/>
          </a:prstGeom>
        </p:spPr>
      </p:pic>
      <p:pic>
        <p:nvPicPr>
          <p:cNvPr id="50" name="Graphic 49" descr="Group of people with solid fill">
            <a:extLst>
              <a:ext uri="{FF2B5EF4-FFF2-40B4-BE49-F238E27FC236}">
                <a16:creationId xmlns:a16="http://schemas.microsoft.com/office/drawing/2014/main" id="{F1CC2D2D-6863-640B-9F92-ED3DBFA3BD9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58637" y="3442178"/>
            <a:ext cx="914400" cy="914400"/>
          </a:xfrm>
          <a:prstGeom prst="rect">
            <a:avLst/>
          </a:prstGeom>
        </p:spPr>
      </p:pic>
      <p:cxnSp>
        <p:nvCxnSpPr>
          <p:cNvPr id="51" name="Straight Arrow Connector 50">
            <a:extLst>
              <a:ext uri="{FF2B5EF4-FFF2-40B4-BE49-F238E27FC236}">
                <a16:creationId xmlns:a16="http://schemas.microsoft.com/office/drawing/2014/main" id="{713EDF4F-D3E3-7773-6500-C661891FE49F}"/>
              </a:ext>
            </a:extLst>
          </p:cNvPr>
          <p:cNvCxnSpPr>
            <a:cxnSpLocks/>
          </p:cNvCxnSpPr>
          <p:nvPr/>
        </p:nvCxnSpPr>
        <p:spPr>
          <a:xfrm flipV="1">
            <a:off x="7752331" y="2609661"/>
            <a:ext cx="1606306" cy="511711"/>
          </a:xfrm>
          <a:prstGeom prst="straightConnector1">
            <a:avLst/>
          </a:prstGeom>
          <a:ln w="19050">
            <a:solidFill>
              <a:srgbClr val="C0000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9D3BC65-6E66-E107-D18E-31A4E65D871F}"/>
              </a:ext>
            </a:extLst>
          </p:cNvPr>
          <p:cNvCxnSpPr>
            <a:cxnSpLocks/>
          </p:cNvCxnSpPr>
          <p:nvPr/>
        </p:nvCxnSpPr>
        <p:spPr>
          <a:xfrm>
            <a:off x="7752331" y="3972670"/>
            <a:ext cx="1642512" cy="21034"/>
          </a:xfrm>
          <a:prstGeom prst="straightConnector1">
            <a:avLst/>
          </a:prstGeom>
          <a:ln w="19050">
            <a:solidFill>
              <a:srgbClr val="C0000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BCED641B-2371-18DD-B3B1-6E25C6C7160B}"/>
              </a:ext>
            </a:extLst>
          </p:cNvPr>
          <p:cNvCxnSpPr>
            <a:cxnSpLocks/>
          </p:cNvCxnSpPr>
          <p:nvPr/>
        </p:nvCxnSpPr>
        <p:spPr>
          <a:xfrm>
            <a:off x="7752331" y="4866036"/>
            <a:ext cx="1649519" cy="555016"/>
          </a:xfrm>
          <a:prstGeom prst="straightConnector1">
            <a:avLst/>
          </a:prstGeom>
          <a:ln w="19050">
            <a:solidFill>
              <a:srgbClr val="C00000"/>
            </a:solidFill>
            <a:prstDash val="lgDash"/>
            <a:tailEnd type="triangle"/>
          </a:ln>
        </p:spPr>
        <p:style>
          <a:lnRef idx="1">
            <a:schemeClr val="accent1"/>
          </a:lnRef>
          <a:fillRef idx="0">
            <a:schemeClr val="accent1"/>
          </a:fillRef>
          <a:effectRef idx="0">
            <a:schemeClr val="accent1"/>
          </a:effectRef>
          <a:fontRef idx="minor">
            <a:schemeClr val="tx1"/>
          </a:fontRef>
        </p:style>
      </p:cxnSp>
      <p:pic>
        <p:nvPicPr>
          <p:cNvPr id="68" name="Graphic 67" descr="Contract outline">
            <a:extLst>
              <a:ext uri="{FF2B5EF4-FFF2-40B4-BE49-F238E27FC236}">
                <a16:creationId xmlns:a16="http://schemas.microsoft.com/office/drawing/2014/main" id="{3FEEEF88-E5C4-07CE-CA87-E76655E99AF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50236" y="4971295"/>
            <a:ext cx="1676401" cy="1676401"/>
          </a:xfrm>
          <a:prstGeom prst="rect">
            <a:avLst/>
          </a:prstGeom>
        </p:spPr>
      </p:pic>
      <p:sp>
        <p:nvSpPr>
          <p:cNvPr id="69" name="TextBox 68">
            <a:extLst>
              <a:ext uri="{FF2B5EF4-FFF2-40B4-BE49-F238E27FC236}">
                <a16:creationId xmlns:a16="http://schemas.microsoft.com/office/drawing/2014/main" id="{7F67642E-07B3-94B7-7AD8-B47F6D84B997}"/>
              </a:ext>
            </a:extLst>
          </p:cNvPr>
          <p:cNvSpPr txBox="1"/>
          <p:nvPr/>
        </p:nvSpPr>
        <p:spPr>
          <a:xfrm>
            <a:off x="1752600" y="5224720"/>
            <a:ext cx="4848225" cy="1169551"/>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H" sz="1400" b="0" i="0" u="none" strike="noStrike" kern="1200" cap="none" spc="0" normalizeH="0" baseline="0" noProof="0" dirty="0">
                <a:ln>
                  <a:noFill/>
                </a:ln>
                <a:solidFill>
                  <a:srgbClr val="0B1E2F"/>
                </a:solidFill>
                <a:effectLst/>
                <a:uLnTx/>
                <a:uFillTx/>
                <a:latin typeface="Arial" panose="020B0604020202020204"/>
                <a:ea typeface="+mn-ea"/>
                <a:cs typeface="+mn-cs"/>
              </a:rPr>
              <a:t>Large couverture géographiqu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H" sz="1400" b="0" i="0" u="none" strike="noStrike" kern="1200" cap="none" spc="0" normalizeH="0" baseline="0" noProof="0" dirty="0">
                <a:ln>
                  <a:noFill/>
                </a:ln>
                <a:solidFill>
                  <a:srgbClr val="0B1E2F"/>
                </a:solidFill>
                <a:effectLst/>
                <a:uLnTx/>
                <a:uFillTx/>
                <a:latin typeface="Arial" panose="020B0604020202020204"/>
                <a:ea typeface="+mn-ea"/>
                <a:cs typeface="+mn-cs"/>
              </a:rPr>
              <a:t>Assurance qualité</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H" sz="1400" b="0" i="0" u="none" strike="noStrike" kern="1200" cap="none" spc="0" normalizeH="0" baseline="0" noProof="0" dirty="0">
                <a:ln>
                  <a:noFill/>
                </a:ln>
                <a:solidFill>
                  <a:srgbClr val="0B1E2F"/>
                </a:solidFill>
                <a:effectLst/>
                <a:uLnTx/>
                <a:uFillTx/>
                <a:latin typeface="Arial" panose="020B0604020202020204"/>
                <a:ea typeface="+mn-ea"/>
                <a:cs typeface="+mn-cs"/>
              </a:rPr>
              <a:t>Enregistrement rapide dans les zones à forte char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H" sz="1400" b="0" i="0" u="none" strike="noStrike" kern="1200" cap="none" spc="0" normalizeH="0" baseline="0" noProof="0" dirty="0">
                <a:ln>
                  <a:noFill/>
                </a:ln>
                <a:solidFill>
                  <a:srgbClr val="0B1E2F"/>
                </a:solidFill>
                <a:effectLst/>
                <a:uLnTx/>
                <a:uFillTx/>
                <a:latin typeface="Arial" panose="020B0604020202020204"/>
                <a:ea typeface="+mn-ea"/>
                <a:cs typeface="+mn-cs"/>
              </a:rPr>
              <a:t>Conditions abordabl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H" sz="1400" b="0" i="0" u="none" strike="noStrike" kern="1200" cap="none" spc="0" normalizeH="0" baseline="0" noProof="0" dirty="0">
                <a:ln>
                  <a:noFill/>
                </a:ln>
                <a:solidFill>
                  <a:srgbClr val="0B1E2F"/>
                </a:solidFill>
                <a:effectLst/>
                <a:uLnTx/>
                <a:uFillTx/>
                <a:latin typeface="Arial" panose="020B0604020202020204"/>
                <a:ea typeface="+mn-ea"/>
                <a:cs typeface="+mn-cs"/>
              </a:rPr>
              <a:t>Capacité d'innovation pour améliorer l'efficacité de la fabrication</a:t>
            </a:r>
            <a:endParaRPr kumimoji="0" lang="en-US" sz="1400" b="0" i="0" u="none" strike="noStrike" kern="1200" cap="none" spc="0" normalizeH="0" baseline="0" noProof="0" dirty="0">
              <a:ln>
                <a:noFill/>
              </a:ln>
              <a:solidFill>
                <a:srgbClr val="0B1E2F"/>
              </a:solidFill>
              <a:effectLst/>
              <a:uLnTx/>
              <a:uFillTx/>
              <a:latin typeface="Arial" panose="020B0604020202020204"/>
              <a:ea typeface="+mn-ea"/>
              <a:cs typeface="+mn-cs"/>
            </a:endParaRPr>
          </a:p>
        </p:txBody>
      </p:sp>
      <p:sp>
        <p:nvSpPr>
          <p:cNvPr id="70" name="TextBox 69">
            <a:extLst>
              <a:ext uri="{FF2B5EF4-FFF2-40B4-BE49-F238E27FC236}">
                <a16:creationId xmlns:a16="http://schemas.microsoft.com/office/drawing/2014/main" id="{B8DB2D34-6E56-2D6A-77ED-25776F9607C2}"/>
              </a:ext>
            </a:extLst>
          </p:cNvPr>
          <p:cNvSpPr txBox="1"/>
          <p:nvPr/>
        </p:nvSpPr>
        <p:spPr>
          <a:xfrm>
            <a:off x="10316250" y="4491868"/>
            <a:ext cx="1730749" cy="769441"/>
          </a:xfrm>
          <a:prstGeom prst="rect">
            <a:avLst/>
          </a:prstGeom>
          <a:noFill/>
        </p:spPr>
        <p:txBody>
          <a:bodyPr wrap="square" rtlCol="0">
            <a:spAutoFit/>
          </a:bodyPr>
          <a:lstStyle/>
          <a:p>
            <a:r>
              <a:rPr lang="en-US" sz="1100" b="1" dirty="0">
                <a:solidFill>
                  <a:schemeClr val="tx1">
                    <a:lumMod val="75000"/>
                    <a:lumOff val="25000"/>
                  </a:schemeClr>
                </a:solidFill>
              </a:rPr>
              <a:t>Priorité accordée aux pays où les besoins en matière de santé publique sont importants afin de maximiser l'impact</a:t>
            </a:r>
            <a:endParaRPr lang="en-GB" sz="1100" b="1" dirty="0">
              <a:solidFill>
                <a:schemeClr val="tx1">
                  <a:lumMod val="75000"/>
                  <a:lumOff val="25000"/>
                </a:schemeClr>
              </a:solidFill>
            </a:endParaRPr>
          </a:p>
        </p:txBody>
      </p:sp>
      <p:pic>
        <p:nvPicPr>
          <p:cNvPr id="72" name="Graphic 71" descr="Contract outline">
            <a:extLst>
              <a:ext uri="{FF2B5EF4-FFF2-40B4-BE49-F238E27FC236}">
                <a16:creationId xmlns:a16="http://schemas.microsoft.com/office/drawing/2014/main" id="{A36776C8-E9FE-503D-58E4-E205AF0C43A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67445" y="3217719"/>
            <a:ext cx="274320" cy="274320"/>
          </a:xfrm>
          <a:prstGeom prst="rect">
            <a:avLst/>
          </a:prstGeom>
        </p:spPr>
      </p:pic>
      <p:pic>
        <p:nvPicPr>
          <p:cNvPr id="73" name="Graphic 72" descr="Contract outline">
            <a:extLst>
              <a:ext uri="{FF2B5EF4-FFF2-40B4-BE49-F238E27FC236}">
                <a16:creationId xmlns:a16="http://schemas.microsoft.com/office/drawing/2014/main" id="{E23791F8-2EDE-E8E5-8AE5-9C3D8263D4E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67445" y="3812079"/>
            <a:ext cx="274320" cy="274320"/>
          </a:xfrm>
          <a:prstGeom prst="rect">
            <a:avLst/>
          </a:prstGeom>
        </p:spPr>
      </p:pic>
      <p:pic>
        <p:nvPicPr>
          <p:cNvPr id="74" name="Graphic 73" descr="Contract outline">
            <a:extLst>
              <a:ext uri="{FF2B5EF4-FFF2-40B4-BE49-F238E27FC236}">
                <a16:creationId xmlns:a16="http://schemas.microsoft.com/office/drawing/2014/main" id="{FC517685-603C-97C9-D984-7FA6BF4FBC7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67445" y="4406439"/>
            <a:ext cx="274320" cy="274320"/>
          </a:xfrm>
          <a:prstGeom prst="rect">
            <a:avLst/>
          </a:prstGeom>
        </p:spPr>
      </p:pic>
      <p:sp>
        <p:nvSpPr>
          <p:cNvPr id="75" name="TextBox 74">
            <a:extLst>
              <a:ext uri="{FF2B5EF4-FFF2-40B4-BE49-F238E27FC236}">
                <a16:creationId xmlns:a16="http://schemas.microsoft.com/office/drawing/2014/main" id="{89B471D0-8B94-39EB-14D5-91F28E44B852}"/>
              </a:ext>
            </a:extLst>
          </p:cNvPr>
          <p:cNvSpPr txBox="1"/>
          <p:nvPr/>
        </p:nvSpPr>
        <p:spPr>
          <a:xfrm>
            <a:off x="639192" y="4687209"/>
            <a:ext cx="4848225" cy="369332"/>
          </a:xfrm>
          <a:prstGeom prst="rect">
            <a:avLst/>
          </a:prstGeom>
          <a:noFill/>
        </p:spPr>
        <p:txBody>
          <a:bodyPr wrap="square" rtlCol="0">
            <a:spAutoFit/>
          </a:bodyPr>
          <a:lstStyle/>
          <a:p>
            <a:r>
              <a:rPr lang="en-US" dirty="0"/>
              <a:t>Principales caractéristiques des sous-licences</a:t>
            </a:r>
            <a:endParaRPr lang="en-GB" dirty="0"/>
          </a:p>
        </p:txBody>
      </p:sp>
      <p:pic>
        <p:nvPicPr>
          <p:cNvPr id="76" name="Graphic 75" descr="Contract outline">
            <a:extLst>
              <a:ext uri="{FF2B5EF4-FFF2-40B4-BE49-F238E27FC236}">
                <a16:creationId xmlns:a16="http://schemas.microsoft.com/office/drawing/2014/main" id="{DE61AA65-8DBF-161A-74B8-1B6C8D89C7B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710690" y="3842120"/>
            <a:ext cx="274320" cy="274320"/>
          </a:xfrm>
          <a:prstGeom prst="rect">
            <a:avLst/>
          </a:prstGeom>
        </p:spPr>
      </p:pic>
      <p:sp>
        <p:nvSpPr>
          <p:cNvPr id="77" name="TextBox 76">
            <a:extLst>
              <a:ext uri="{FF2B5EF4-FFF2-40B4-BE49-F238E27FC236}">
                <a16:creationId xmlns:a16="http://schemas.microsoft.com/office/drawing/2014/main" id="{2277323E-9A85-FB06-A986-5782D8460F17}"/>
              </a:ext>
            </a:extLst>
          </p:cNvPr>
          <p:cNvSpPr txBox="1"/>
          <p:nvPr/>
        </p:nvSpPr>
        <p:spPr>
          <a:xfrm>
            <a:off x="203910" y="1435145"/>
            <a:ext cx="1189372" cy="338554"/>
          </a:xfrm>
          <a:prstGeom prst="rect">
            <a:avLst/>
          </a:prstGeom>
          <a:noFill/>
        </p:spPr>
        <p:txBody>
          <a:bodyPr wrap="square" rtlCol="0">
            <a:spAutoFit/>
          </a:bodyPr>
          <a:lstStyle/>
          <a:p>
            <a:r>
              <a:rPr lang="en-US" sz="1600" b="1" dirty="0">
                <a:solidFill>
                  <a:srgbClr val="00B0F0"/>
                </a:solidFill>
              </a:rPr>
              <a:t>Créateur</a:t>
            </a:r>
            <a:endParaRPr lang="en-GB" sz="1600" b="1" dirty="0">
              <a:solidFill>
                <a:srgbClr val="00B0F0"/>
              </a:solidFill>
            </a:endParaRPr>
          </a:p>
        </p:txBody>
      </p:sp>
      <p:sp>
        <p:nvSpPr>
          <p:cNvPr id="78" name="TextBox 77">
            <a:extLst>
              <a:ext uri="{FF2B5EF4-FFF2-40B4-BE49-F238E27FC236}">
                <a16:creationId xmlns:a16="http://schemas.microsoft.com/office/drawing/2014/main" id="{D1A02535-DCD0-C973-D631-7E94F5A42873}"/>
              </a:ext>
            </a:extLst>
          </p:cNvPr>
          <p:cNvSpPr txBox="1"/>
          <p:nvPr/>
        </p:nvSpPr>
        <p:spPr>
          <a:xfrm>
            <a:off x="6576407" y="1435145"/>
            <a:ext cx="1724030" cy="338554"/>
          </a:xfrm>
          <a:prstGeom prst="rect">
            <a:avLst/>
          </a:prstGeom>
          <a:noFill/>
        </p:spPr>
        <p:txBody>
          <a:bodyPr wrap="square" rtlCol="0">
            <a:spAutoFit/>
          </a:bodyPr>
          <a:lstStyle/>
          <a:p>
            <a:pPr algn="ctr"/>
            <a:r>
              <a:rPr lang="en-US" sz="1600" b="1" dirty="0"/>
              <a:t>Sous-licenciés</a:t>
            </a:r>
            <a:endParaRPr lang="en-GB" sz="1600" b="1" dirty="0"/>
          </a:p>
        </p:txBody>
      </p:sp>
      <p:sp>
        <p:nvSpPr>
          <p:cNvPr id="79" name="TextBox 78">
            <a:extLst>
              <a:ext uri="{FF2B5EF4-FFF2-40B4-BE49-F238E27FC236}">
                <a16:creationId xmlns:a16="http://schemas.microsoft.com/office/drawing/2014/main" id="{C229A4C5-65D9-DE78-D5C7-760925E842A4}"/>
              </a:ext>
            </a:extLst>
          </p:cNvPr>
          <p:cNvSpPr txBox="1"/>
          <p:nvPr/>
        </p:nvSpPr>
        <p:spPr>
          <a:xfrm>
            <a:off x="10155313" y="3476625"/>
            <a:ext cx="1724030" cy="769441"/>
          </a:xfrm>
          <a:prstGeom prst="rect">
            <a:avLst/>
          </a:prstGeom>
          <a:noFill/>
        </p:spPr>
        <p:txBody>
          <a:bodyPr wrap="square" rtlCol="0">
            <a:spAutoFit/>
          </a:bodyPr>
          <a:lstStyle/>
          <a:p>
            <a:pPr algn="ctr"/>
            <a:r>
              <a:rPr lang="en-CH" sz="1100" b="1" dirty="0">
                <a:solidFill>
                  <a:srgbClr val="00B050"/>
                </a:solidFill>
              </a:rPr>
              <a:t>Stratégie de lancement conjoint : </a:t>
            </a:r>
            <a:r>
              <a:rPr lang="en-US" sz="1100" b="1" dirty="0">
                <a:solidFill>
                  <a:srgbClr val="00B050"/>
                </a:solidFill>
              </a:rPr>
              <a:t>territoires GARDP – marge plus faible, demande plus élevée</a:t>
            </a:r>
            <a:endParaRPr lang="en-GB" sz="1100" b="1" dirty="0">
              <a:solidFill>
                <a:srgbClr val="00B050"/>
              </a:solidFill>
            </a:endParaRPr>
          </a:p>
        </p:txBody>
      </p:sp>
      <p:sp>
        <p:nvSpPr>
          <p:cNvPr id="81" name="TextBox 80">
            <a:extLst>
              <a:ext uri="{FF2B5EF4-FFF2-40B4-BE49-F238E27FC236}">
                <a16:creationId xmlns:a16="http://schemas.microsoft.com/office/drawing/2014/main" id="{7CCD2879-EE5E-F0F1-D77F-CF9AAE7D6235}"/>
              </a:ext>
            </a:extLst>
          </p:cNvPr>
          <p:cNvSpPr txBox="1"/>
          <p:nvPr/>
        </p:nvSpPr>
        <p:spPr>
          <a:xfrm>
            <a:off x="145001" y="1751678"/>
            <a:ext cx="8706123" cy="954107"/>
          </a:xfrm>
          <a:prstGeom prst="rect">
            <a:avLst/>
          </a:prstGeom>
          <a:noFill/>
        </p:spPr>
        <p:txBody>
          <a:bodyPr wrap="square">
            <a:spAutoFit/>
          </a:bodyPr>
          <a:lstStyle/>
          <a:p>
            <a:pPr algn="just"/>
            <a:r>
              <a:rPr lang="en-US" sz="1400" dirty="0">
                <a:latin typeface="+mj-lt"/>
              </a:rPr>
              <a:t>Pour les nouveaux antibiotiques de réserve, l'octroi de licences pour un lancement simultané dans les pays à forte valeur ajoutée et à faible volume et dans les pays à faible marge et à forte demande appropriée peut contribuer à garantir la viabilité des candidats antibiotiques en cours de développement et à remédier aux goulets d'étranglement en matière de fabrication et d'approvisionnement.</a:t>
            </a:r>
            <a:endParaRPr lang="en-GB" sz="1400" dirty="0">
              <a:latin typeface="+mj-lt"/>
            </a:endParaRPr>
          </a:p>
        </p:txBody>
      </p:sp>
      <p:sp>
        <p:nvSpPr>
          <p:cNvPr id="30" name="TextBox 29">
            <a:extLst>
              <a:ext uri="{FF2B5EF4-FFF2-40B4-BE49-F238E27FC236}">
                <a16:creationId xmlns:a16="http://schemas.microsoft.com/office/drawing/2014/main" id="{DC24395A-267B-848D-5791-1A28C76E650A}"/>
              </a:ext>
            </a:extLst>
          </p:cNvPr>
          <p:cNvSpPr txBox="1"/>
          <p:nvPr/>
        </p:nvSpPr>
        <p:spPr>
          <a:xfrm>
            <a:off x="10155313" y="2346765"/>
            <a:ext cx="1724030" cy="600164"/>
          </a:xfrm>
          <a:prstGeom prst="rect">
            <a:avLst/>
          </a:prstGeom>
          <a:noFill/>
        </p:spPr>
        <p:txBody>
          <a:bodyPr wrap="square" rtlCol="0">
            <a:spAutoFit/>
          </a:bodyPr>
          <a:lstStyle/>
          <a:p>
            <a:pPr algn="ctr"/>
            <a:r>
              <a:rPr lang="en-CH" sz="1100" b="1" dirty="0">
                <a:solidFill>
                  <a:srgbClr val="FFC000"/>
                </a:solidFill>
              </a:rPr>
              <a:t>Stratégie de lancement type : </a:t>
            </a:r>
            <a:r>
              <a:rPr lang="en-US" sz="1100" b="1" dirty="0">
                <a:solidFill>
                  <a:srgbClr val="FFC000"/>
                </a:solidFill>
              </a:rPr>
              <a:t>valeur élevée, faible volume</a:t>
            </a:r>
            <a:endParaRPr lang="en-GB" sz="1100" b="1" dirty="0">
              <a:solidFill>
                <a:srgbClr val="FFC000"/>
              </a:solidFill>
            </a:endParaRPr>
          </a:p>
        </p:txBody>
      </p:sp>
    </p:spTree>
    <p:extLst>
      <p:ext uri="{BB962C8B-B14F-4D97-AF65-F5344CB8AC3E}">
        <p14:creationId xmlns:p14="http://schemas.microsoft.com/office/powerpoint/2010/main" val="4518283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30962B4B-B48A-C7E2-058C-0C9BE2AC7DA1}"/>
              </a:ext>
            </a:extLst>
          </p:cNvPr>
          <p:cNvGraphicFramePr/>
          <p:nvPr>
            <p:extLst>
              <p:ext uri="{D42A27DB-BD31-4B8C-83A1-F6EECF244321}">
                <p14:modId xmlns:p14="http://schemas.microsoft.com/office/powerpoint/2010/main" val="144700240"/>
              </p:ext>
            </p:extLst>
          </p:nvPr>
        </p:nvGraphicFramePr>
        <p:xfrm>
          <a:off x="-12366" y="-6697"/>
          <a:ext cx="1384347" cy="12137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a:extLst>
              <a:ext uri="{FF2B5EF4-FFF2-40B4-BE49-F238E27FC236}">
                <a16:creationId xmlns:a16="http://schemas.microsoft.com/office/drawing/2014/main" id="{EC933C25-9FC9-5427-21D6-92E362E08D30}"/>
              </a:ext>
            </a:extLst>
          </p:cNvPr>
          <p:cNvSpPr txBox="1">
            <a:spLocks/>
          </p:cNvSpPr>
          <p:nvPr/>
        </p:nvSpPr>
        <p:spPr>
          <a:xfrm>
            <a:off x="1261872" y="198147"/>
            <a:ext cx="9325917" cy="969963"/>
          </a:xfrm>
          <a:prstGeom prst="rect">
            <a:avLst/>
          </a:prstGeom>
        </p:spPr>
        <p:txBody>
          <a:bodyPr/>
          <a:lstStyle>
            <a:lvl1pPr algn="l" defTabSz="914377" rtl="0" eaLnBrk="1" latinLnBrk="0" hangingPunct="1">
              <a:lnSpc>
                <a:spcPct val="90000"/>
              </a:lnSpc>
              <a:spcBef>
                <a:spcPct val="0"/>
              </a:spcBef>
              <a:buNone/>
              <a:defRPr sz="3500" b="1" kern="1200">
                <a:solidFill>
                  <a:srgbClr val="0D1F2F"/>
                </a:solidFill>
                <a:latin typeface="Arial" panose="020B0604020202020204" pitchFamily="34" charset="0"/>
                <a:ea typeface="+mj-ea"/>
                <a:cs typeface="Arial" panose="020B0604020202020204" pitchFamily="34" charset="0"/>
              </a:defRPr>
            </a:lvl1pPr>
          </a:lstStyle>
          <a:p>
            <a:r>
              <a:rPr lang="en-CH" sz="2800" dirty="0">
                <a:solidFill>
                  <a:schemeClr val="tx1"/>
                </a:solidFill>
              </a:rPr>
              <a:t>Efficacité du marché : </a:t>
            </a:r>
            <a:r>
              <a:rPr lang="en-CH" sz="2800" dirty="0" err="1">
                <a:solidFill>
                  <a:schemeClr val="tx1"/>
                </a:solidFill>
              </a:rPr>
              <a:t>achats</a:t>
            </a:r>
            <a:r>
              <a:rPr lang="en-CH" sz="2800" dirty="0">
                <a:solidFill>
                  <a:schemeClr val="tx1"/>
                </a:solidFill>
              </a:rPr>
              <a:t> coordonnés ou groupés </a:t>
            </a:r>
            <a:r>
              <a:rPr lang="en-US" sz="2800" dirty="0">
                <a:solidFill>
                  <a:schemeClr val="tx1"/>
                </a:solidFill>
              </a:rPr>
              <a:t>(1/2)</a:t>
            </a:r>
          </a:p>
        </p:txBody>
      </p:sp>
      <p:pic>
        <p:nvPicPr>
          <p:cNvPr id="2" name="Picture 1">
            <a:extLst>
              <a:ext uri="{FF2B5EF4-FFF2-40B4-BE49-F238E27FC236}">
                <a16:creationId xmlns:a16="http://schemas.microsoft.com/office/drawing/2014/main" id="{02A5C50D-E676-46AF-EE74-086F96334EE3}"/>
              </a:ext>
            </a:extLst>
          </p:cNvPr>
          <p:cNvPicPr>
            <a:picLocks noChangeAspect="1"/>
          </p:cNvPicPr>
          <p:nvPr/>
        </p:nvPicPr>
        <p:blipFill>
          <a:blip r:embed="rId8"/>
          <a:stretch>
            <a:fillRect/>
          </a:stretch>
        </p:blipFill>
        <p:spPr>
          <a:xfrm>
            <a:off x="6019800" y="5010912"/>
            <a:ext cx="6138518" cy="1665843"/>
          </a:xfrm>
          <a:prstGeom prst="rect">
            <a:avLst/>
          </a:prstGeom>
        </p:spPr>
      </p:pic>
      <p:pic>
        <p:nvPicPr>
          <p:cNvPr id="12" name="Picture 11">
            <a:extLst>
              <a:ext uri="{FF2B5EF4-FFF2-40B4-BE49-F238E27FC236}">
                <a16:creationId xmlns:a16="http://schemas.microsoft.com/office/drawing/2014/main" id="{02FF1A36-8404-444D-2483-1AA1C042E03B}"/>
              </a:ext>
            </a:extLst>
          </p:cNvPr>
          <p:cNvPicPr>
            <a:picLocks noChangeAspect="1"/>
          </p:cNvPicPr>
          <p:nvPr/>
        </p:nvPicPr>
        <p:blipFill rotWithShape="1">
          <a:blip r:embed="rId9"/>
          <a:srcRect l="52639" b="377"/>
          <a:stretch/>
        </p:blipFill>
        <p:spPr>
          <a:xfrm>
            <a:off x="4782312" y="6076262"/>
            <a:ext cx="1227066" cy="678450"/>
          </a:xfrm>
          <a:prstGeom prst="rect">
            <a:avLst/>
          </a:prstGeom>
        </p:spPr>
      </p:pic>
      <p:graphicFrame>
        <p:nvGraphicFramePr>
          <p:cNvPr id="6" name="Diagram 5">
            <a:extLst>
              <a:ext uri="{FF2B5EF4-FFF2-40B4-BE49-F238E27FC236}">
                <a16:creationId xmlns:a16="http://schemas.microsoft.com/office/drawing/2014/main" id="{5352F8B6-2E57-F6E9-EE4B-6D803C703C75}"/>
              </a:ext>
            </a:extLst>
          </p:cNvPr>
          <p:cNvGraphicFramePr/>
          <p:nvPr/>
        </p:nvGraphicFramePr>
        <p:xfrm>
          <a:off x="761619" y="1219200"/>
          <a:ext cx="11116056" cy="482917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pic>
        <p:nvPicPr>
          <p:cNvPr id="1026" name="Picture 2" descr="Stop TB Partnership | Global Drug ...">
            <a:extLst>
              <a:ext uri="{FF2B5EF4-FFF2-40B4-BE49-F238E27FC236}">
                <a16:creationId xmlns:a16="http://schemas.microsoft.com/office/drawing/2014/main" id="{C6D3B715-ED8D-10F2-BEC4-190BBA8C969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32904" y="5076555"/>
            <a:ext cx="2867025" cy="160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40097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80F30207-E9EC-C407-0FEA-EBF2C0C7139F}"/>
              </a:ext>
            </a:extLst>
          </p:cNvPr>
          <p:cNvGraphicFramePr/>
          <p:nvPr/>
        </p:nvGraphicFramePr>
        <p:xfrm>
          <a:off x="-12366" y="-6697"/>
          <a:ext cx="1384347" cy="12137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itle 1">
            <a:extLst>
              <a:ext uri="{FF2B5EF4-FFF2-40B4-BE49-F238E27FC236}">
                <a16:creationId xmlns:a16="http://schemas.microsoft.com/office/drawing/2014/main" id="{094D88F1-6C50-1BD2-038A-A98C67E195AA}"/>
              </a:ext>
            </a:extLst>
          </p:cNvPr>
          <p:cNvSpPr txBox="1">
            <a:spLocks/>
          </p:cNvSpPr>
          <p:nvPr/>
        </p:nvSpPr>
        <p:spPr>
          <a:xfrm>
            <a:off x="1261872" y="198147"/>
            <a:ext cx="9668398" cy="969963"/>
          </a:xfrm>
          <a:prstGeom prst="rect">
            <a:avLst/>
          </a:prstGeom>
        </p:spPr>
        <p:txBody>
          <a:bodyPr/>
          <a:lstStyle>
            <a:lvl1pPr algn="l" defTabSz="914377" rtl="0" eaLnBrk="1" latinLnBrk="0" hangingPunct="1">
              <a:lnSpc>
                <a:spcPct val="90000"/>
              </a:lnSpc>
              <a:spcBef>
                <a:spcPct val="0"/>
              </a:spcBef>
              <a:buNone/>
              <a:defRPr sz="3500" b="1" kern="1200">
                <a:solidFill>
                  <a:srgbClr val="0D1F2F"/>
                </a:solidFill>
                <a:latin typeface="Arial" panose="020B0604020202020204" pitchFamily="34" charset="0"/>
                <a:ea typeface="+mj-ea"/>
                <a:cs typeface="Arial" panose="020B0604020202020204" pitchFamily="34" charset="0"/>
              </a:defRPr>
            </a:lvl1pPr>
          </a:lstStyle>
          <a:p>
            <a:r>
              <a:rPr lang="en-CH" sz="2800" dirty="0">
                <a:solidFill>
                  <a:schemeClr val="tx1"/>
                </a:solidFill>
              </a:rPr>
              <a:t>Efficacité du marché : réduire les risques et dissocier le volume et les ventes (2/2)</a:t>
            </a:r>
            <a:endParaRPr lang="en-US" sz="2800" dirty="0">
              <a:solidFill>
                <a:schemeClr val="tx1"/>
              </a:solidFill>
            </a:endParaRPr>
          </a:p>
        </p:txBody>
      </p:sp>
      <p:grpSp>
        <p:nvGrpSpPr>
          <p:cNvPr id="26" name="Group 25">
            <a:extLst>
              <a:ext uri="{FF2B5EF4-FFF2-40B4-BE49-F238E27FC236}">
                <a16:creationId xmlns:a16="http://schemas.microsoft.com/office/drawing/2014/main" id="{9AF5A28A-71F6-956C-334C-33B22B9ACEC6}"/>
              </a:ext>
            </a:extLst>
          </p:cNvPr>
          <p:cNvGrpSpPr/>
          <p:nvPr/>
        </p:nvGrpSpPr>
        <p:grpSpPr>
          <a:xfrm>
            <a:off x="228903" y="2196880"/>
            <a:ext cx="7754487" cy="4273922"/>
            <a:chOff x="228903" y="2016123"/>
            <a:chExt cx="8193430" cy="4273922"/>
          </a:xfrm>
        </p:grpSpPr>
        <p:pic>
          <p:nvPicPr>
            <p:cNvPr id="2" name="Picture 1">
              <a:extLst>
                <a:ext uri="{FF2B5EF4-FFF2-40B4-BE49-F238E27FC236}">
                  <a16:creationId xmlns:a16="http://schemas.microsoft.com/office/drawing/2014/main" id="{08BF1E5C-AD0F-306B-BAC3-21CD4A5B1AA9}"/>
                </a:ext>
              </a:extLst>
            </p:cNvPr>
            <p:cNvPicPr>
              <a:picLocks noChangeAspect="1"/>
            </p:cNvPicPr>
            <p:nvPr/>
          </p:nvPicPr>
          <p:blipFill>
            <a:blip r:embed="rId8"/>
            <a:stretch>
              <a:fillRect/>
            </a:stretch>
          </p:blipFill>
          <p:spPr>
            <a:xfrm>
              <a:off x="228903" y="2016123"/>
              <a:ext cx="3185592" cy="889562"/>
            </a:xfrm>
            <a:prstGeom prst="rect">
              <a:avLst/>
            </a:prstGeom>
          </p:spPr>
        </p:pic>
        <p:pic>
          <p:nvPicPr>
            <p:cNvPr id="3" name="Picture 2">
              <a:extLst>
                <a:ext uri="{FF2B5EF4-FFF2-40B4-BE49-F238E27FC236}">
                  <a16:creationId xmlns:a16="http://schemas.microsoft.com/office/drawing/2014/main" id="{F662FA4C-9134-819F-4EC8-1D40536047E9}"/>
                </a:ext>
              </a:extLst>
            </p:cNvPr>
            <p:cNvPicPr>
              <a:picLocks noChangeAspect="1"/>
            </p:cNvPicPr>
            <p:nvPr/>
          </p:nvPicPr>
          <p:blipFill>
            <a:blip r:embed="rId9"/>
            <a:stretch>
              <a:fillRect/>
            </a:stretch>
          </p:blipFill>
          <p:spPr>
            <a:xfrm>
              <a:off x="311776" y="5489833"/>
              <a:ext cx="3019846" cy="800212"/>
            </a:xfrm>
            <a:prstGeom prst="rect">
              <a:avLst/>
            </a:prstGeom>
          </p:spPr>
        </p:pic>
        <p:sp>
          <p:nvSpPr>
            <p:cNvPr id="5" name="Arrow: Down 4">
              <a:extLst>
                <a:ext uri="{FF2B5EF4-FFF2-40B4-BE49-F238E27FC236}">
                  <a16:creationId xmlns:a16="http://schemas.microsoft.com/office/drawing/2014/main" id="{6FF6E421-3B37-8743-D2E9-43A4F4031EBD}"/>
                </a:ext>
              </a:extLst>
            </p:cNvPr>
            <p:cNvSpPr/>
            <p:nvPr/>
          </p:nvSpPr>
          <p:spPr>
            <a:xfrm>
              <a:off x="1570561" y="2741292"/>
              <a:ext cx="502276" cy="88956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Arrow: Down 18">
              <a:extLst>
                <a:ext uri="{FF2B5EF4-FFF2-40B4-BE49-F238E27FC236}">
                  <a16:creationId xmlns:a16="http://schemas.microsoft.com/office/drawing/2014/main" id="{8A9B1C1C-947A-E635-1633-CDB864AEFD3B}"/>
                </a:ext>
              </a:extLst>
            </p:cNvPr>
            <p:cNvSpPr/>
            <p:nvPr/>
          </p:nvSpPr>
          <p:spPr>
            <a:xfrm rot="10800000">
              <a:off x="1570562" y="4600271"/>
              <a:ext cx="502276" cy="88956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7A67F9B7-FD3A-C1EB-3A33-48C891909A8A}"/>
                </a:ext>
              </a:extLst>
            </p:cNvPr>
            <p:cNvSpPr txBox="1"/>
            <p:nvPr/>
          </p:nvSpPr>
          <p:spPr>
            <a:xfrm>
              <a:off x="673866" y="3612300"/>
              <a:ext cx="2045623" cy="830997"/>
            </a:xfrm>
            <a:prstGeom prst="rect">
              <a:avLst/>
            </a:prstGeom>
            <a:noFill/>
          </p:spPr>
          <p:txBody>
            <a:bodyPr wrap="square" rtlCol="0">
              <a:spAutoFit/>
            </a:bodyPr>
            <a:lstStyle/>
            <a:p>
              <a:pPr algn="ctr"/>
              <a:r>
                <a:rPr lang="en-CH" sz="2400" dirty="0"/>
                <a:t>Garantie fournisseur</a:t>
              </a:r>
              <a:endParaRPr lang="en-US" sz="2400" dirty="0"/>
            </a:p>
          </p:txBody>
        </p:sp>
        <p:sp>
          <p:nvSpPr>
            <p:cNvPr id="21" name="Arrow: Down 20">
              <a:extLst>
                <a:ext uri="{FF2B5EF4-FFF2-40B4-BE49-F238E27FC236}">
                  <a16:creationId xmlns:a16="http://schemas.microsoft.com/office/drawing/2014/main" id="{73CF6A58-9342-6AE5-0038-35379098FB3B}"/>
                </a:ext>
              </a:extLst>
            </p:cNvPr>
            <p:cNvSpPr/>
            <p:nvPr/>
          </p:nvSpPr>
          <p:spPr>
            <a:xfrm rot="16200000">
              <a:off x="2779951" y="3867913"/>
              <a:ext cx="481778" cy="537066"/>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51634FCF-CBEA-A3E6-CD62-743DE54BB1E7}"/>
                </a:ext>
              </a:extLst>
            </p:cNvPr>
            <p:cNvSpPr txBox="1"/>
            <p:nvPr/>
          </p:nvSpPr>
          <p:spPr>
            <a:xfrm>
              <a:off x="3289373" y="3312120"/>
              <a:ext cx="2510691" cy="1938992"/>
            </a:xfrm>
            <a:prstGeom prst="rect">
              <a:avLst/>
            </a:prstGeom>
            <a:noFill/>
          </p:spPr>
          <p:txBody>
            <a:bodyPr wrap="square" rtlCol="0">
              <a:spAutoFit/>
            </a:bodyPr>
            <a:lstStyle/>
            <a:p>
              <a:pPr algn="ctr"/>
              <a:r>
                <a:rPr lang="en-CH" sz="2400" dirty="0"/>
                <a:t>Permet une planification à long terme et des gains d'efficacité</a:t>
              </a:r>
              <a:endParaRPr lang="en-US" sz="2400" dirty="0"/>
            </a:p>
          </p:txBody>
        </p:sp>
        <p:sp>
          <p:nvSpPr>
            <p:cNvPr id="23" name="Arrow: Down 22">
              <a:extLst>
                <a:ext uri="{FF2B5EF4-FFF2-40B4-BE49-F238E27FC236}">
                  <a16:creationId xmlns:a16="http://schemas.microsoft.com/office/drawing/2014/main" id="{9B9AB9D6-51A7-328E-4558-64A3C6337CC6}"/>
                </a:ext>
              </a:extLst>
            </p:cNvPr>
            <p:cNvSpPr/>
            <p:nvPr/>
          </p:nvSpPr>
          <p:spPr>
            <a:xfrm rot="16200000">
              <a:off x="5645416" y="3896388"/>
              <a:ext cx="481778" cy="537066"/>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639498A1-DEE6-3BE3-E1BB-937AF54541AA}"/>
                </a:ext>
              </a:extLst>
            </p:cNvPr>
            <p:cNvSpPr txBox="1"/>
            <p:nvPr/>
          </p:nvSpPr>
          <p:spPr>
            <a:xfrm>
              <a:off x="6123133" y="3312120"/>
              <a:ext cx="2299200" cy="1938992"/>
            </a:xfrm>
            <a:prstGeom prst="rect">
              <a:avLst/>
            </a:prstGeom>
            <a:noFill/>
          </p:spPr>
          <p:txBody>
            <a:bodyPr wrap="square" rtlCol="0">
              <a:spAutoFit/>
            </a:bodyPr>
            <a:lstStyle/>
            <a:p>
              <a:pPr algn="ctr"/>
              <a:r>
                <a:rPr lang="en-CH" sz="2400" dirty="0"/>
                <a:t>Des réductions de prix de 40 % favorisent l'adoption</a:t>
              </a:r>
              <a:endParaRPr lang="en-US" sz="2400" dirty="0"/>
            </a:p>
          </p:txBody>
        </p:sp>
      </p:grpSp>
      <p:pic>
        <p:nvPicPr>
          <p:cNvPr id="25" name="Picture 2" descr="Sweden to test an access-focused model ...">
            <a:extLst>
              <a:ext uri="{FF2B5EF4-FFF2-40B4-BE49-F238E27FC236}">
                <a16:creationId xmlns:a16="http://schemas.microsoft.com/office/drawing/2014/main" id="{C9602C0D-08E0-BEA0-8F24-3E884660F8B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01456" y="2323938"/>
            <a:ext cx="4343666" cy="209787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3792712D-7B62-B49E-DB48-457A3503C2BD}"/>
              </a:ext>
            </a:extLst>
          </p:cNvPr>
          <p:cNvSpPr txBox="1"/>
          <p:nvPr/>
        </p:nvSpPr>
        <p:spPr>
          <a:xfrm>
            <a:off x="8380493" y="1974073"/>
            <a:ext cx="3344782" cy="369332"/>
          </a:xfrm>
          <a:prstGeom prst="rect">
            <a:avLst/>
          </a:prstGeom>
          <a:solidFill>
            <a:schemeClr val="bg1"/>
          </a:solidFill>
        </p:spPr>
        <p:txBody>
          <a:bodyPr wrap="square" rtlCol="0">
            <a:spAutoFit/>
          </a:bodyPr>
          <a:lstStyle/>
          <a:p>
            <a:r>
              <a:rPr lang="en-CH" dirty="0"/>
              <a:t>Garantie de revenus en Suède</a:t>
            </a:r>
            <a:endParaRPr lang="en-US" dirty="0"/>
          </a:p>
        </p:txBody>
      </p:sp>
      <p:sp>
        <p:nvSpPr>
          <p:cNvPr id="29" name="TextBox 28">
            <a:extLst>
              <a:ext uri="{FF2B5EF4-FFF2-40B4-BE49-F238E27FC236}">
                <a16:creationId xmlns:a16="http://schemas.microsoft.com/office/drawing/2014/main" id="{D85F9158-4CC2-0BCD-BEE6-313F74E8C97D}"/>
              </a:ext>
            </a:extLst>
          </p:cNvPr>
          <p:cNvSpPr txBox="1"/>
          <p:nvPr/>
        </p:nvSpPr>
        <p:spPr>
          <a:xfrm>
            <a:off x="8086725" y="4516626"/>
            <a:ext cx="4003964" cy="1815882"/>
          </a:xfrm>
          <a:prstGeom prst="rect">
            <a:avLst/>
          </a:prstGeom>
          <a:noFill/>
        </p:spPr>
        <p:txBody>
          <a:bodyPr wrap="square">
            <a:spAutoFit/>
          </a:bodyPr>
          <a:lstStyle/>
          <a:p>
            <a:pPr algn="just">
              <a:spcAft>
                <a:spcPts val="800"/>
              </a:spcAft>
            </a:pPr>
            <a:r>
              <a:rPr lang="en-US" sz="1600" kern="100" dirty="0">
                <a:effectLst/>
                <a:ea typeface="Calibri" panose="020F0502020204030204" pitchFamily="34" charset="0"/>
                <a:cs typeface="Times New Roman" panose="02020603050405020304" pitchFamily="18" charset="0"/>
              </a:rPr>
              <a:t>Par exemple, même pour un marché à faible valeur comme la Suède, une garantie de revenus a contribué à assurer l'enregistrement et la disponibilité de produits prioritaires pour traiter les infections bactériennes résistantes aux médicaments</a:t>
            </a:r>
            <a:r>
              <a:rPr lang="en-CH" sz="1600" kern="100" dirty="0">
                <a:effectLst/>
                <a:ea typeface="Calibri" panose="020F0502020204030204" pitchFamily="34" charset="0"/>
                <a:cs typeface="Times New Roman" panose="02020603050405020304" pitchFamily="18" charset="0"/>
              </a:rPr>
              <a:t>. </a:t>
            </a:r>
          </a:p>
        </p:txBody>
      </p:sp>
      <p:sp>
        <p:nvSpPr>
          <p:cNvPr id="31" name="TextBox 30">
            <a:extLst>
              <a:ext uri="{FF2B5EF4-FFF2-40B4-BE49-F238E27FC236}">
                <a16:creationId xmlns:a16="http://schemas.microsoft.com/office/drawing/2014/main" id="{ED4378AB-86C1-A376-1A7C-7BC727A9C119}"/>
              </a:ext>
            </a:extLst>
          </p:cNvPr>
          <p:cNvSpPr txBox="1"/>
          <p:nvPr/>
        </p:nvSpPr>
        <p:spPr>
          <a:xfrm>
            <a:off x="466725" y="1634694"/>
            <a:ext cx="11496372" cy="646331"/>
          </a:xfrm>
          <a:prstGeom prst="rect">
            <a:avLst/>
          </a:prstGeom>
          <a:noFill/>
        </p:spPr>
        <p:txBody>
          <a:bodyPr wrap="square">
            <a:spAutoFit/>
          </a:bodyPr>
          <a:lstStyle/>
          <a:p>
            <a:r>
              <a:rPr lang="en-US" sz="1800" b="1" i="1" kern="100" dirty="0">
                <a:solidFill>
                  <a:schemeClr val="tx1">
                    <a:lumMod val="75000"/>
                    <a:lumOff val="25000"/>
                  </a:schemeClr>
                </a:solidFill>
                <a:effectLst/>
                <a:ea typeface="Calibri" panose="020F0502020204030204" pitchFamily="34" charset="0"/>
                <a:cs typeface="Times New Roman" panose="02020603050405020304" pitchFamily="18" charset="0"/>
              </a:rPr>
              <a:t>Une garantie de revenus/volume dissocie les revenus du volume des ventes, réduisant ainsi l'incitation à promouvoir une utilisation inappropriée des antibiotiques. </a:t>
            </a:r>
            <a:endParaRPr lang="en-GB" b="1" i="1" dirty="0">
              <a:solidFill>
                <a:schemeClr val="tx1">
                  <a:lumMod val="75000"/>
                  <a:lumOff val="25000"/>
                </a:schemeClr>
              </a:solidFill>
            </a:endParaRPr>
          </a:p>
        </p:txBody>
      </p:sp>
    </p:spTree>
    <p:extLst>
      <p:ext uri="{BB962C8B-B14F-4D97-AF65-F5344CB8AC3E}">
        <p14:creationId xmlns:p14="http://schemas.microsoft.com/office/powerpoint/2010/main" val="1188046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GARDP">
      <a:dk1>
        <a:srgbClr val="0B1E2F"/>
      </a:dk1>
      <a:lt1>
        <a:srgbClr val="FFFFFF"/>
      </a:lt1>
      <a:dk2>
        <a:srgbClr val="006378"/>
      </a:dk2>
      <a:lt2>
        <a:srgbClr val="D5DBE4"/>
      </a:lt2>
      <a:accent1>
        <a:srgbClr val="0B1E2F"/>
      </a:accent1>
      <a:accent2>
        <a:srgbClr val="006378"/>
      </a:accent2>
      <a:accent3>
        <a:srgbClr val="00A0AD"/>
      </a:accent3>
      <a:accent4>
        <a:srgbClr val="79A8B3"/>
      </a:accent4>
      <a:accent5>
        <a:srgbClr val="E3F0F1"/>
      </a:accent5>
      <a:accent6>
        <a:srgbClr val="D0CECD"/>
      </a:accent6>
      <a:hlink>
        <a:srgbClr val="006378"/>
      </a:hlink>
      <a:folHlink>
        <a:srgbClr val="00A0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RDP Core slide deck_2023" id="{6319823C-CF44-4F94-A12C-B7345B7B5BF2}" vid="{79946D8E-CC3F-4A57-A393-CC2209771342}"/>
    </a:ext>
  </a:extLst>
</a:theme>
</file>

<file path=ppt/theme/theme2.xml><?xml version="1.0" encoding="utf-8"?>
<a:theme xmlns:a="http://schemas.openxmlformats.org/drawingml/2006/main" name="6_Custom Design">
  <a:themeElements>
    <a:clrScheme name="GARDP">
      <a:dk1>
        <a:srgbClr val="0B1E2F"/>
      </a:dk1>
      <a:lt1>
        <a:srgbClr val="FFFFFF"/>
      </a:lt1>
      <a:dk2>
        <a:srgbClr val="006378"/>
      </a:dk2>
      <a:lt2>
        <a:srgbClr val="D5DBE4"/>
      </a:lt2>
      <a:accent1>
        <a:srgbClr val="0B1E2F"/>
      </a:accent1>
      <a:accent2>
        <a:srgbClr val="006378"/>
      </a:accent2>
      <a:accent3>
        <a:srgbClr val="00A0AD"/>
      </a:accent3>
      <a:accent4>
        <a:srgbClr val="79A8B3"/>
      </a:accent4>
      <a:accent5>
        <a:srgbClr val="E3F0F1"/>
      </a:accent5>
      <a:accent6>
        <a:srgbClr val="D0CECD"/>
      </a:accent6>
      <a:hlink>
        <a:srgbClr val="006378"/>
      </a:hlink>
      <a:folHlink>
        <a:srgbClr val="00A0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RDP Core Slide Deck_2022.pptx" id="{AE0DDB93-EE23-404E-85E8-8C5D0C5E2272}" vid="{B3C7B753-DCF0-4721-B0F3-747EBAE1A965}"/>
    </a:ext>
  </a:extLst>
</a:theme>
</file>

<file path=ppt/theme/theme3.xml><?xml version="1.0" encoding="utf-8"?>
<a:theme xmlns:a="http://schemas.openxmlformats.org/drawingml/2006/main" name="1_Custom Design">
  <a:themeElements>
    <a:clrScheme name="GARDP">
      <a:dk1>
        <a:srgbClr val="0B1E2F"/>
      </a:dk1>
      <a:lt1>
        <a:srgbClr val="FFFFFF"/>
      </a:lt1>
      <a:dk2>
        <a:srgbClr val="006378"/>
      </a:dk2>
      <a:lt2>
        <a:srgbClr val="D5DBE4"/>
      </a:lt2>
      <a:accent1>
        <a:srgbClr val="0B1E2F"/>
      </a:accent1>
      <a:accent2>
        <a:srgbClr val="006378"/>
      </a:accent2>
      <a:accent3>
        <a:srgbClr val="00A0AD"/>
      </a:accent3>
      <a:accent4>
        <a:srgbClr val="79A8B3"/>
      </a:accent4>
      <a:accent5>
        <a:srgbClr val="E3F0F1"/>
      </a:accent5>
      <a:accent6>
        <a:srgbClr val="D0CECD"/>
      </a:accent6>
      <a:hlink>
        <a:srgbClr val="006378"/>
      </a:hlink>
      <a:folHlink>
        <a:srgbClr val="00A0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RDP Core slide deck_2024" id="{3D846E31-1668-4FBA-9106-A0A98D85CCEF}" vid="{367E7BE4-6717-48C0-B262-60BD0DFF32DF}"/>
    </a:ext>
  </a:extLst>
</a:theme>
</file>

<file path=ppt/theme/theme4.xml><?xml version="1.0" encoding="utf-8"?>
<a:theme xmlns:a="http://schemas.openxmlformats.org/drawingml/2006/main" name="3_Custom Design">
  <a:themeElements>
    <a:clrScheme name="GARDP">
      <a:dk1>
        <a:srgbClr val="0B1E2F"/>
      </a:dk1>
      <a:lt1>
        <a:srgbClr val="FFFFFF"/>
      </a:lt1>
      <a:dk2>
        <a:srgbClr val="006378"/>
      </a:dk2>
      <a:lt2>
        <a:srgbClr val="D5DBE4"/>
      </a:lt2>
      <a:accent1>
        <a:srgbClr val="0B1E2F"/>
      </a:accent1>
      <a:accent2>
        <a:srgbClr val="006378"/>
      </a:accent2>
      <a:accent3>
        <a:srgbClr val="00A0AD"/>
      </a:accent3>
      <a:accent4>
        <a:srgbClr val="79A8B3"/>
      </a:accent4>
      <a:accent5>
        <a:srgbClr val="E3F0F1"/>
      </a:accent5>
      <a:accent6>
        <a:srgbClr val="D0CECD"/>
      </a:accent6>
      <a:hlink>
        <a:srgbClr val="006378"/>
      </a:hlink>
      <a:folHlink>
        <a:srgbClr val="00A0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RDP Core slide deck_2023" id="{3D91FF26-8A0D-4485-9C7E-3D476E1EE903}" vid="{07E21C9F-DBCE-4853-9F0E-8808EDAAEF41}"/>
    </a:ext>
  </a:extLst>
</a:theme>
</file>

<file path=ppt/theme/theme5.xml><?xml version="1.0" encoding="utf-8"?>
<a:theme xmlns:a="http://schemas.openxmlformats.org/drawingml/2006/main" name="2_Custom Design">
  <a:themeElements>
    <a:clrScheme name="GARDP">
      <a:dk1>
        <a:srgbClr val="0B1E2F"/>
      </a:dk1>
      <a:lt1>
        <a:srgbClr val="FFFFFF"/>
      </a:lt1>
      <a:dk2>
        <a:srgbClr val="006378"/>
      </a:dk2>
      <a:lt2>
        <a:srgbClr val="D5DBE4"/>
      </a:lt2>
      <a:accent1>
        <a:srgbClr val="0B1E2F"/>
      </a:accent1>
      <a:accent2>
        <a:srgbClr val="006378"/>
      </a:accent2>
      <a:accent3>
        <a:srgbClr val="00A0AD"/>
      </a:accent3>
      <a:accent4>
        <a:srgbClr val="79A8B3"/>
      </a:accent4>
      <a:accent5>
        <a:srgbClr val="E3F0F1"/>
      </a:accent5>
      <a:accent6>
        <a:srgbClr val="D0CECD"/>
      </a:accent6>
      <a:hlink>
        <a:srgbClr val="006378"/>
      </a:hlink>
      <a:folHlink>
        <a:srgbClr val="00A0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RDP Core slide deck_2023" id="{6319823C-CF44-4F94-A12C-B7345B7B5BF2}" vid="{79946D8E-CC3F-4A57-A393-CC2209771342}"/>
    </a:ext>
  </a:extLst>
</a:theme>
</file>

<file path=ppt/theme/theme6.xml><?xml version="1.0" encoding="utf-8"?>
<a:theme xmlns:a="http://schemas.openxmlformats.org/drawingml/2006/main" name="Content slid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Ending slid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RandD Document" ma:contentTypeID="0x010100462856BA91FED040932FE81EEC4A6F8000848E56A0E27645448A178451680783F1" ma:contentTypeVersion="34" ma:contentTypeDescription="Crée un document." ma:contentTypeScope="" ma:versionID="cc665561ad29069b8aefc433058f564b">
  <xsd:schema xmlns:xsd="http://www.w3.org/2001/XMLSchema" xmlns:xs="http://www.w3.org/2001/XMLSchema" xmlns:p="http://schemas.microsoft.com/office/2006/metadata/properties" xmlns:ns2="a47011d4-2256-413f-9039-ad8d6055f39d" xmlns:ns3="e8ad2fc5-f673-42b0-8576-8915727b5704" xmlns:ns4="93be5f7c-2dee-4115-8c92-2eaf5fb03864" targetNamespace="http://schemas.microsoft.com/office/2006/metadata/properties" ma:root="true" ma:fieldsID="50e20d007df6d865b1fe47961cff317e" ns2:_="" ns3:_="" ns4:_="">
    <xsd:import namespace="a47011d4-2256-413f-9039-ad8d6055f39d"/>
    <xsd:import namespace="e8ad2fc5-f673-42b0-8576-8915727b5704"/>
    <xsd:import namespace="93be5f7c-2dee-4115-8c92-2eaf5fb03864"/>
    <xsd:element name="properties">
      <xsd:complexType>
        <xsd:sequence>
          <xsd:element name="documentManagement">
            <xsd:complexType>
              <xsd:all>
                <xsd:element ref="ns3:Project" minOccurs="0"/>
                <xsd:element ref="ns4:Created_x0020_by0" minOccurs="0"/>
                <xsd:element ref="ns3:TaxCatchAllLabel" minOccurs="0"/>
                <xsd:element ref="ns2:bf13bb768fbc42efb2b9fdf8e42387fc" minOccurs="0"/>
                <xsd:element ref="ns2:adc13467d2c44f6b96d00c40d5efb4af" minOccurs="0"/>
                <xsd:element ref="ns4:MediaServiceAutoKeyPoints" minOccurs="0"/>
                <xsd:element ref="ns4:MediaServiceKeyPoint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lcf76f155ced4ddcb4097134ff3c332f" minOccurs="0"/>
                <xsd:element ref="ns3:TaxCatchAll" minOccurs="0"/>
                <xsd:element ref="ns4:MediaServiceObjectDetectorVersions" minOccurs="0"/>
                <xsd:element ref="ns4:MediaServiceSearchProperties" minOccurs="0"/>
                <xsd:element ref="ns4: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7011d4-2256-413f-9039-ad8d6055f39d" elementFormDefault="qualified">
    <xsd:import namespace="http://schemas.microsoft.com/office/2006/documentManagement/types"/>
    <xsd:import namespace="http://schemas.microsoft.com/office/infopath/2007/PartnerControls"/>
    <xsd:element name="bf13bb768fbc42efb2b9fdf8e42387fc" ma:index="7" nillable="true" ma:taxonomy="true" ma:internalName="bf13bb768fbc42efb2b9fdf8e42387fc" ma:taxonomyFieldName="Audience1" ma:displayName="Audience" ma:indexed="true" ma:readOnly="false" ma:default="" ma:fieldId="{bf13bb76-8fbc-42ef-b2b9-fdf8e42387fc}" ma:sspId="50b8dcca-3e83-44b5-af86-5b7a637e331e" ma:termSetId="05105890-1978-4123-907f-511bfccbf836" ma:anchorId="00000000-0000-0000-0000-000000000000" ma:open="false" ma:isKeyword="false">
      <xsd:complexType>
        <xsd:sequence>
          <xsd:element ref="pc:Terms" minOccurs="0" maxOccurs="1"/>
        </xsd:sequence>
      </xsd:complexType>
    </xsd:element>
    <xsd:element name="adc13467d2c44f6b96d00c40d5efb4af" ma:index="9" nillable="true" ma:taxonomy="true" ma:internalName="adc13467d2c44f6b96d00c40d5efb4af" ma:taxonomyFieldName="Document_x0020_Type" ma:displayName="Document Type" ma:indexed="true" ma:readOnly="false" ma:default="" ma:fieldId="{adc13467-d2c4-4f6b-96d0-0c40d5efb4af}" ma:sspId="50b8dcca-3e83-44b5-af86-5b7a637e331e" ma:termSetId="bf856fa0-d97e-4176-9ebd-dc59d73b060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8ad2fc5-f673-42b0-8576-8915727b5704" elementFormDefault="qualified">
    <xsd:import namespace="http://schemas.microsoft.com/office/2006/documentManagement/types"/>
    <xsd:import namespace="http://schemas.microsoft.com/office/infopath/2007/PartnerControls"/>
    <xsd:element name="Project" ma:index="3" nillable="true" ma:displayName="Project" ma:internalName="Project">
      <xsd:simpleType>
        <xsd:restriction base="dms:Text">
          <xsd:maxLength value="255"/>
        </xsd:restriction>
      </xsd:simpleType>
    </xsd:element>
    <xsd:element name="TaxCatchAllLabel" ma:index="6" nillable="true" ma:displayName="Taxonomy Catch All Column1" ma:hidden="true" ma:list="{f52c04bc-35da-4839-89a4-de8ebcdb524e}" ma:internalName="TaxCatchAllLabel" ma:readOnly="false" ma:showField="CatchAllDataLabel" ma:web="a47011d4-2256-413f-9039-ad8d6055f39d">
      <xsd:complexType>
        <xsd:complexContent>
          <xsd:extension base="dms:MultiChoiceLookup">
            <xsd:sequence>
              <xsd:element name="Value" type="dms:Lookup" maxOccurs="unbounded" minOccurs="0" nillable="true"/>
            </xsd:sequence>
          </xsd:extension>
        </xsd:complexContent>
      </xsd:complexType>
    </xsd:element>
    <xsd:element name="TaxCatchAll" ma:index="25" nillable="true" ma:displayName="Taxonomy Catch All Column" ma:hidden="true" ma:list="{f52c04bc-35da-4839-89a4-de8ebcdb524e}" ma:internalName="TaxCatchAll" ma:readOnly="false" ma:showField="CatchAllData" ma:web="a47011d4-2256-413f-9039-ad8d6055f39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3be5f7c-2dee-4115-8c92-2eaf5fb03864" elementFormDefault="qualified">
    <xsd:import namespace="http://schemas.microsoft.com/office/2006/documentManagement/types"/>
    <xsd:import namespace="http://schemas.microsoft.com/office/infopath/2007/PartnerControls"/>
    <xsd:element name="Created_x0020_by0" ma:index="4" nillable="true" ma:displayName="Created by" ma:list="UserInfo" ma:SharePointGroup="0" ma:internalName="Created_x0020_by0"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hidden="true" ma:internalName="MediaServiceKeyPoints" ma:readOnly="true">
      <xsd:simpleType>
        <xsd:restriction base="dms:Note"/>
      </xsd:simpleType>
    </xsd:element>
    <xsd:element name="MediaServiceOCR" ma:index="15" nillable="true" ma:displayName="Extracted Text" ma:hidden="true" ma:internalName="MediaServiceOCR" ma:readOnly="true">
      <xsd:simpleType>
        <xsd:restriction base="dms:Note"/>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hidden="true" ma:internalName="MediaServiceLocation" ma:readOnly="true">
      <xsd:simpleType>
        <xsd:restriction base="dms:Text"/>
      </xsd:simpleType>
    </xsd:element>
    <xsd:element name="MediaLengthInSeconds" ma:index="20" nillable="true" ma:displayName="Length (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50b8dcca-3e83-44b5-af86-5b7a637e331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Type de contenu"/>
        <xsd:element ref="dc:title" minOccurs="0" maxOccurs="1"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e8ad2fc5-f673-42b0-8576-8915727b5704" xsi:nil="true"/>
    <lcf76f155ced4ddcb4097134ff3c332f xmlns="93be5f7c-2dee-4115-8c92-2eaf5fb03864">
      <Terms xmlns="http://schemas.microsoft.com/office/infopath/2007/PartnerControls"/>
    </lcf76f155ced4ddcb4097134ff3c332f>
    <bf13bb768fbc42efb2b9fdf8e42387fc xmlns="a47011d4-2256-413f-9039-ad8d6055f39d">
      <Terms xmlns="http://schemas.microsoft.com/office/infopath/2007/PartnerControls"/>
    </bf13bb768fbc42efb2b9fdf8e42387fc>
    <adc13467d2c44f6b96d00c40d5efb4af xmlns="a47011d4-2256-413f-9039-ad8d6055f39d">
      <Terms xmlns="http://schemas.microsoft.com/office/infopath/2007/PartnerControls"/>
    </adc13467d2c44f6b96d00c40d5efb4af>
    <Project xmlns="e8ad2fc5-f673-42b0-8576-8915727b5704" xsi:nil="true"/>
    <TaxCatchAllLabel xmlns="e8ad2fc5-f673-42b0-8576-8915727b5704" xsi:nil="true"/>
    <Created_x0020_by0 xmlns="93be5f7c-2dee-4115-8c92-2eaf5fb03864">
      <UserInfo>
        <DisplayName/>
        <AccountId xsi:nil="true"/>
        <AccountType/>
      </UserInfo>
    </Created_x0020_by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5E8AA5-5F98-4E95-8A73-88CDE4D4D5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7011d4-2256-413f-9039-ad8d6055f39d"/>
    <ds:schemaRef ds:uri="e8ad2fc5-f673-42b0-8576-8915727b5704"/>
    <ds:schemaRef ds:uri="93be5f7c-2dee-4115-8c92-2eaf5fb038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DC78434-489A-4C37-80BB-954134BB9DCC}">
  <ds:schemaRefs>
    <ds:schemaRef ds:uri="http://schemas.microsoft.com/office/2006/metadata/properties"/>
    <ds:schemaRef ds:uri="a47011d4-2256-413f-9039-ad8d6055f39d"/>
    <ds:schemaRef ds:uri="http://schemas.microsoft.com/office/infopath/2007/PartnerControls"/>
    <ds:schemaRef ds:uri="http://purl.org/dc/dcmitype/"/>
    <ds:schemaRef ds:uri="http://purl.org/dc/terms/"/>
    <ds:schemaRef ds:uri="93be5f7c-2dee-4115-8c92-2eaf5fb03864"/>
    <ds:schemaRef ds:uri="http://www.w3.org/XML/1998/namespace"/>
    <ds:schemaRef ds:uri="e8ad2fc5-f673-42b0-8576-8915727b5704"/>
    <ds:schemaRef ds:uri="http://schemas.microsoft.com/office/2006/documentManagement/types"/>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C587BC0C-28BD-4F83-B873-07EC05B0683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253</Words>
  <Application>Microsoft Office PowerPoint</Application>
  <PresentationFormat>Widescreen</PresentationFormat>
  <Paragraphs>207</Paragraphs>
  <Slides>20</Slides>
  <Notes>20</Notes>
  <HiddenSlides>0</HiddenSlides>
  <MMClips>0</MMClips>
  <ScaleCrop>false</ScaleCrop>
  <HeadingPairs>
    <vt:vector size="8" baseType="variant">
      <vt:variant>
        <vt:lpstr>Fonts Used</vt:lpstr>
      </vt:variant>
      <vt:variant>
        <vt:i4>3</vt:i4>
      </vt:variant>
      <vt:variant>
        <vt:lpstr>Theme</vt:lpstr>
      </vt:variant>
      <vt:variant>
        <vt:i4>7</vt:i4>
      </vt:variant>
      <vt:variant>
        <vt:lpstr>Embedded OLE Servers</vt:lpstr>
      </vt:variant>
      <vt:variant>
        <vt:i4>1</vt:i4>
      </vt:variant>
      <vt:variant>
        <vt:lpstr>Slide Titles</vt:lpstr>
      </vt:variant>
      <vt:variant>
        <vt:i4>20</vt:i4>
      </vt:variant>
    </vt:vector>
  </HeadingPairs>
  <TitlesOfParts>
    <vt:vector size="31" baseType="lpstr">
      <vt:lpstr>Arial</vt:lpstr>
      <vt:lpstr>Calibri</vt:lpstr>
      <vt:lpstr>Open Sans</vt:lpstr>
      <vt:lpstr>Custom Design</vt:lpstr>
      <vt:lpstr>6_Custom Design</vt:lpstr>
      <vt:lpstr>1_Custom Design</vt:lpstr>
      <vt:lpstr>3_Custom Design</vt:lpstr>
      <vt:lpstr>2_Custom Design</vt:lpstr>
      <vt:lpstr>Content slide</vt:lpstr>
      <vt:lpstr>3_Ending slide</vt:lpstr>
      <vt:lpstr>think-cell Slide</vt:lpstr>
      <vt:lpstr>Accès aux nouveaux antibiotiques dans les pays à revenu faible et intermédiaire :  Questions médicales, opérationnelles et éthiques</vt:lpstr>
      <vt:lpstr>Plusieurs défis empêchent un accès durable aux antibiotiques vitaux </vt:lpstr>
      <vt:lpstr>Comment améliorer l'accès aux nouveaux antibiotiques ou aux antibiotiques de réserve ?</vt:lpstr>
      <vt:lpstr>PowerPoint Presentation</vt:lpstr>
      <vt:lpstr>L'accès durable aux antibiotiques nécessite une approche écosystémique</vt:lpstr>
      <vt:lpstr>PowerPoint Presentation</vt:lpstr>
      <vt:lpstr>PowerPoint Presentation</vt:lpstr>
      <vt:lpstr>PowerPoint Presentation</vt:lpstr>
      <vt:lpstr>PowerPoint Presentation</vt:lpstr>
      <vt:lpstr>Une fois que les antibiotiques sont disponibles, comment pouvons-nous renforcer leur accès approprié ? </vt:lpstr>
      <vt:lpstr>Que pouvons-nous apprendre de la MDR TB: introduction et utilisation appropriée de la bédaquiline</vt:lpstr>
      <vt:lpstr>La gestion responsable, c'est l'accès</vt:lpstr>
      <vt:lpstr>PowerPoint Presentation</vt:lpstr>
      <vt:lpstr> Que peuvent faire des organisations telles que GARDP?</vt:lpstr>
      <vt:lpstr>La vision du GARDP en matière d'accès</vt:lpstr>
      <vt:lpstr>Contribution du GARDP à l'écosystème pour le développement et l'accès aux antibiotiques (1/2)</vt:lpstr>
      <vt:lpstr>GARDP’s contribution to the ecosystem for antibiotic development and access (2/2)</vt:lpstr>
      <vt:lpstr>Étude de cas : Cefiderocol</vt:lpstr>
      <vt:lpstr>Depuis le lancement du projet, nous avons franchi des étapes importantes et sommes en bonne voie pour atteindre nos objectif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ve 1 Country Sub-Prioritization</dc:title>
  <dc:creator>Jennifer Cohn</dc:creator>
  <cp:keywords>, docId:9ED4E00088109BD99D835A4C7ECC8897</cp:keywords>
  <cp:lastModifiedBy>Fernando Pascual Martinez</cp:lastModifiedBy>
  <cp:revision>18</cp:revision>
  <cp:lastPrinted>2026-01-08T12:16:13Z</cp:lastPrinted>
  <dcterms:created xsi:type="dcterms:W3CDTF">2023-03-27T13:24:59Z</dcterms:created>
  <dcterms:modified xsi:type="dcterms:W3CDTF">2026-01-09T16:1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Document_x0020_Type">
    <vt:lpwstr/>
  </property>
  <property fmtid="{D5CDD505-2E9C-101B-9397-08002B2CF9AE}" pid="4" name="Document Type">
    <vt:lpwstr/>
  </property>
  <property fmtid="{D5CDD505-2E9C-101B-9397-08002B2CF9AE}" pid="5" name="Audience1">
    <vt:lpwstr/>
  </property>
  <property fmtid="{D5CDD505-2E9C-101B-9397-08002B2CF9AE}" pid="6" name="ContentTypeId">
    <vt:lpwstr>0x010100462856BA91FED040932FE81EEC4A6F8000848E56A0E27645448A178451680783F1</vt:lpwstr>
  </property>
</Properties>
</file>